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handoutMasterIdLst>
    <p:handoutMasterId r:id="rId29"/>
  </p:handoutMasterIdLst>
  <p:sldIdLst>
    <p:sldId id="309" r:id="rId2"/>
    <p:sldId id="310" r:id="rId3"/>
    <p:sldId id="339" r:id="rId4"/>
    <p:sldId id="312" r:id="rId5"/>
    <p:sldId id="338" r:id="rId6"/>
    <p:sldId id="342" r:id="rId7"/>
    <p:sldId id="344" r:id="rId8"/>
    <p:sldId id="351" r:id="rId9"/>
    <p:sldId id="345" r:id="rId10"/>
    <p:sldId id="346" r:id="rId11"/>
    <p:sldId id="347" r:id="rId12"/>
    <p:sldId id="348" r:id="rId13"/>
    <p:sldId id="350" r:id="rId14"/>
    <p:sldId id="349" r:id="rId15"/>
    <p:sldId id="340" r:id="rId16"/>
    <p:sldId id="352" r:id="rId17"/>
    <p:sldId id="353" r:id="rId18"/>
    <p:sldId id="354" r:id="rId19"/>
    <p:sldId id="355" r:id="rId20"/>
    <p:sldId id="356" r:id="rId21"/>
    <p:sldId id="358" r:id="rId22"/>
    <p:sldId id="357" r:id="rId23"/>
    <p:sldId id="359" r:id="rId24"/>
    <p:sldId id="360" r:id="rId25"/>
    <p:sldId id="361" r:id="rId26"/>
    <p:sldId id="330"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892BD9-D2E5-4993-AF7C-E65C9FFEE28A}" v="1" dt="2019-06-04T02:54:18.628"/>
    <p1510:client id="{D82195CA-335C-41A3-B437-0AD3C755EB07}" v="814" dt="2019-06-04T17:03:02.5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5" autoAdjust="0"/>
    <p:restoredTop sz="74307" autoAdjust="0"/>
  </p:normalViewPr>
  <p:slideViewPr>
    <p:cSldViewPr snapToGrid="0">
      <p:cViewPr varScale="1">
        <p:scale>
          <a:sx n="46" d="100"/>
          <a:sy n="46" d="100"/>
        </p:scale>
        <p:origin x="67" y="427"/>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m Tran" userId="4aee0b4974c0eb7e" providerId="LiveId" clId="{23892BD9-D2E5-4993-AF7C-E65C9FFEE28A}"/>
    <pc:docChg chg="modSld">
      <pc:chgData name="Nam Tran" userId="4aee0b4974c0eb7e" providerId="LiveId" clId="{23892BD9-D2E5-4993-AF7C-E65C9FFEE28A}" dt="2019-06-04T02:57:42.426" v="212" actId="20577"/>
      <pc:docMkLst>
        <pc:docMk/>
      </pc:docMkLst>
      <pc:sldChg chg="modSp">
        <pc:chgData name="Nam Tran" userId="4aee0b4974c0eb7e" providerId="LiveId" clId="{23892BD9-D2E5-4993-AF7C-E65C9FFEE28A}" dt="2019-06-04T02:54:54.358" v="67" actId="20577"/>
        <pc:sldMkLst>
          <pc:docMk/>
          <pc:sldMk cId="120977986" sldId="309"/>
        </pc:sldMkLst>
        <pc:spChg chg="mod">
          <ac:chgData name="Nam Tran" userId="4aee0b4974c0eb7e" providerId="LiveId" clId="{23892BD9-D2E5-4993-AF7C-E65C9FFEE28A}" dt="2019-06-04T02:54:23.423" v="4" actId="403"/>
          <ac:spMkLst>
            <pc:docMk/>
            <pc:sldMk cId="120977986" sldId="309"/>
            <ac:spMk id="14" creationId="{00000000-0000-0000-0000-000000000000}"/>
          </ac:spMkLst>
        </pc:spChg>
        <pc:spChg chg="mod">
          <ac:chgData name="Nam Tran" userId="4aee0b4974c0eb7e" providerId="LiveId" clId="{23892BD9-D2E5-4993-AF7C-E65C9FFEE28A}" dt="2019-06-04T02:54:31.521" v="13" actId="122"/>
          <ac:spMkLst>
            <pc:docMk/>
            <pc:sldMk cId="120977986" sldId="309"/>
            <ac:spMk id="28" creationId="{4994F7DC-1F87-4029-9690-DBF164FE1ED9}"/>
          </ac:spMkLst>
        </pc:spChg>
        <pc:spChg chg="mod">
          <ac:chgData name="Nam Tran" userId="4aee0b4974c0eb7e" providerId="LiveId" clId="{23892BD9-D2E5-4993-AF7C-E65C9FFEE28A}" dt="2019-06-04T02:54:54.358" v="67" actId="20577"/>
          <ac:spMkLst>
            <pc:docMk/>
            <pc:sldMk cId="120977986" sldId="309"/>
            <ac:spMk id="29" creationId="{282DA525-4DA3-4D54-8B13-8BC9A2B88C13}"/>
          </ac:spMkLst>
        </pc:spChg>
      </pc:sldChg>
      <pc:sldChg chg="modSp">
        <pc:chgData name="Nam Tran" userId="4aee0b4974c0eb7e" providerId="LiveId" clId="{23892BD9-D2E5-4993-AF7C-E65C9FFEE28A}" dt="2019-06-04T02:57:42.426" v="212" actId="20577"/>
        <pc:sldMkLst>
          <pc:docMk/>
          <pc:sldMk cId="3996674928" sldId="310"/>
        </pc:sldMkLst>
        <pc:spChg chg="mod">
          <ac:chgData name="Nam Tran" userId="4aee0b4974c0eb7e" providerId="LiveId" clId="{23892BD9-D2E5-4993-AF7C-E65C9FFEE28A}" dt="2019-06-04T02:55:31.123" v="119" actId="20577"/>
          <ac:spMkLst>
            <pc:docMk/>
            <pc:sldMk cId="3996674928" sldId="310"/>
            <ac:spMk id="14" creationId="{00000000-0000-0000-0000-000000000000}"/>
          </ac:spMkLst>
        </pc:spChg>
        <pc:spChg chg="mod">
          <ac:chgData name="Nam Tran" userId="4aee0b4974c0eb7e" providerId="LiveId" clId="{23892BD9-D2E5-4993-AF7C-E65C9FFEE28A}" dt="2019-06-04T02:57:42.426" v="212" actId="20577"/>
          <ac:spMkLst>
            <pc:docMk/>
            <pc:sldMk cId="3996674928" sldId="310"/>
            <ac:spMk id="22" creationId="{78E31D3E-3CE7-48B5-95D8-CC4F305CEB24}"/>
          </ac:spMkLst>
        </pc:spChg>
        <pc:grpChg chg="mod">
          <ac:chgData name="Nam Tran" userId="4aee0b4974c0eb7e" providerId="LiveId" clId="{23892BD9-D2E5-4993-AF7C-E65C9FFEE28A}" dt="2019-06-04T02:56:02.766" v="120" actId="1076"/>
          <ac:grpSpMkLst>
            <pc:docMk/>
            <pc:sldMk cId="3996674928" sldId="310"/>
            <ac:grpSpMk id="10" creationId="{00000000-0000-0000-0000-000000000000}"/>
          </ac:grpSpMkLst>
        </pc:grpChg>
      </pc:sldChg>
    </pc:docChg>
  </pc:docChgLst>
  <pc:docChgLst>
    <pc:chgData name="Nam Tran" userId="4aee0b4974c0eb7e" providerId="LiveId" clId="{D82195CA-335C-41A3-B437-0AD3C755EB07}"/>
    <pc:docChg chg="undo redo custSel mod addSld delSld modSld sldOrd">
      <pc:chgData name="Nam Tran" userId="4aee0b4974c0eb7e" providerId="LiveId" clId="{D82195CA-335C-41A3-B437-0AD3C755EB07}" dt="2019-06-04T17:11:53.904" v="3567" actId="732"/>
      <pc:docMkLst>
        <pc:docMk/>
      </pc:docMkLst>
      <pc:sldChg chg="add del">
        <pc:chgData name="Nam Tran" userId="4aee0b4974c0eb7e" providerId="LiveId" clId="{D82195CA-335C-41A3-B437-0AD3C755EB07}" dt="2019-06-04T16:49:00.269" v="3362" actId="2696"/>
        <pc:sldMkLst>
          <pc:docMk/>
          <pc:sldMk cId="2914139621" sldId="262"/>
        </pc:sldMkLst>
      </pc:sldChg>
      <pc:sldChg chg="addSp delSp modSp">
        <pc:chgData name="Nam Tran" userId="4aee0b4974c0eb7e" providerId="LiveId" clId="{D82195CA-335C-41A3-B437-0AD3C755EB07}" dt="2019-06-04T14:19:08.978" v="1670" actId="20577"/>
        <pc:sldMkLst>
          <pc:docMk/>
          <pc:sldMk cId="120977986" sldId="309"/>
        </pc:sldMkLst>
        <pc:spChg chg="mod">
          <ac:chgData name="Nam Tran" userId="4aee0b4974c0eb7e" providerId="LiveId" clId="{D82195CA-335C-41A3-B437-0AD3C755EB07}" dt="2019-06-04T14:19:08.978" v="1670" actId="20577"/>
          <ac:spMkLst>
            <pc:docMk/>
            <pc:sldMk cId="120977986" sldId="309"/>
            <ac:spMk id="14" creationId="{00000000-0000-0000-0000-000000000000}"/>
          </ac:spMkLst>
        </pc:spChg>
        <pc:spChg chg="del">
          <ac:chgData name="Nam Tran" userId="4aee0b4974c0eb7e" providerId="LiveId" clId="{D82195CA-335C-41A3-B437-0AD3C755EB07}" dt="2019-06-04T13:57:20.568" v="1235" actId="478"/>
          <ac:spMkLst>
            <pc:docMk/>
            <pc:sldMk cId="120977986" sldId="309"/>
            <ac:spMk id="22" creationId="{034290F7-7D3A-4013-848D-4B1EB57925D5}"/>
          </ac:spMkLst>
        </pc:spChg>
        <pc:picChg chg="add del">
          <ac:chgData name="Nam Tran" userId="4aee0b4974c0eb7e" providerId="LiveId" clId="{D82195CA-335C-41A3-B437-0AD3C755EB07}" dt="2019-06-04T13:57:31.816" v="1237" actId="478"/>
          <ac:picMkLst>
            <pc:docMk/>
            <pc:sldMk cId="120977986" sldId="309"/>
            <ac:picMk id="27" creationId="{07951DA7-6675-4DFA-B525-9DF15B76A699}"/>
          </ac:picMkLst>
        </pc:picChg>
      </pc:sldChg>
      <pc:sldChg chg="addSp delSp modSp addAnim delAnim modAnim modNotesTx">
        <pc:chgData name="Nam Tran" userId="4aee0b4974c0eb7e" providerId="LiveId" clId="{D82195CA-335C-41A3-B437-0AD3C755EB07}" dt="2019-06-04T13:58:13.699" v="1251" actId="478"/>
        <pc:sldMkLst>
          <pc:docMk/>
          <pc:sldMk cId="3996674928" sldId="310"/>
        </pc:sldMkLst>
        <pc:spChg chg="mod">
          <ac:chgData name="Nam Tran" userId="4aee0b4974c0eb7e" providerId="LiveId" clId="{D82195CA-335C-41A3-B437-0AD3C755EB07}" dt="2019-06-04T10:00:05.372" v="407" actId="1076"/>
          <ac:spMkLst>
            <pc:docMk/>
            <pc:sldMk cId="3996674928" sldId="310"/>
            <ac:spMk id="2" creationId="{00000000-0000-0000-0000-000000000000}"/>
          </ac:spMkLst>
        </pc:spChg>
        <pc:spChg chg="add del mod">
          <ac:chgData name="Nam Tran" userId="4aee0b4974c0eb7e" providerId="LiveId" clId="{D82195CA-335C-41A3-B437-0AD3C755EB07}" dt="2019-06-04T13:58:13.448" v="1250" actId="478"/>
          <ac:spMkLst>
            <pc:docMk/>
            <pc:sldMk cId="3996674928" sldId="310"/>
            <ac:spMk id="5" creationId="{27483AC1-6216-4D84-A054-23453785D3C5}"/>
          </ac:spMkLst>
        </pc:spChg>
        <pc:spChg chg="add mod">
          <ac:chgData name="Nam Tran" userId="4aee0b4974c0eb7e" providerId="LiveId" clId="{D82195CA-335C-41A3-B437-0AD3C755EB07}" dt="2019-06-04T13:00:30.847" v="502" actId="20577"/>
          <ac:spMkLst>
            <pc:docMk/>
            <pc:sldMk cId="3996674928" sldId="310"/>
            <ac:spMk id="13" creationId="{B7ED815E-22F3-476A-BCD1-9F4E96AAF228}"/>
          </ac:spMkLst>
        </pc:spChg>
        <pc:spChg chg="mod">
          <ac:chgData name="Nam Tran" userId="4aee0b4974c0eb7e" providerId="LiveId" clId="{D82195CA-335C-41A3-B437-0AD3C755EB07}" dt="2019-06-04T09:53:43.203" v="219" actId="1076"/>
          <ac:spMkLst>
            <pc:docMk/>
            <pc:sldMk cId="3996674928" sldId="310"/>
            <ac:spMk id="20" creationId="{355A1A9E-EFFA-42DC-83D7-AC02D1DA5A98}"/>
          </ac:spMkLst>
        </pc:spChg>
        <pc:spChg chg="mod">
          <ac:chgData name="Nam Tran" userId="4aee0b4974c0eb7e" providerId="LiveId" clId="{D82195CA-335C-41A3-B437-0AD3C755EB07}" dt="2019-06-04T10:00:02.866" v="406" actId="404"/>
          <ac:spMkLst>
            <pc:docMk/>
            <pc:sldMk cId="3996674928" sldId="310"/>
            <ac:spMk id="21" creationId="{00000000-0000-0000-0000-000000000000}"/>
          </ac:spMkLst>
        </pc:spChg>
        <pc:spChg chg="mod">
          <ac:chgData name="Nam Tran" userId="4aee0b4974c0eb7e" providerId="LiveId" clId="{D82195CA-335C-41A3-B437-0AD3C755EB07}" dt="2019-06-04T10:00:13.413" v="414" actId="1036"/>
          <ac:spMkLst>
            <pc:docMk/>
            <pc:sldMk cId="3996674928" sldId="310"/>
            <ac:spMk id="22" creationId="{78E31D3E-3CE7-48B5-95D8-CC4F305CEB24}"/>
          </ac:spMkLst>
        </pc:spChg>
        <pc:spChg chg="mod">
          <ac:chgData name="Nam Tran" userId="4aee0b4974c0eb7e" providerId="LiveId" clId="{D82195CA-335C-41A3-B437-0AD3C755EB07}" dt="2019-06-04T10:03:31.438" v="455" actId="1076"/>
          <ac:spMkLst>
            <pc:docMk/>
            <pc:sldMk cId="3996674928" sldId="310"/>
            <ac:spMk id="24" creationId="{00000000-0000-0000-0000-000000000000}"/>
          </ac:spMkLst>
        </pc:spChg>
        <pc:grpChg chg="mod">
          <ac:chgData name="Nam Tran" userId="4aee0b4974c0eb7e" providerId="LiveId" clId="{D82195CA-335C-41A3-B437-0AD3C755EB07}" dt="2019-06-04T13:11:44.686" v="520" actId="1076"/>
          <ac:grpSpMkLst>
            <pc:docMk/>
            <pc:sldMk cId="3996674928" sldId="310"/>
            <ac:grpSpMk id="9" creationId="{00000000-0000-0000-0000-000000000000}"/>
          </ac:grpSpMkLst>
        </pc:grpChg>
        <pc:picChg chg="add del">
          <ac:chgData name="Nam Tran" userId="4aee0b4974c0eb7e" providerId="LiveId" clId="{D82195CA-335C-41A3-B437-0AD3C755EB07}" dt="2019-06-04T13:58:13.699" v="1251" actId="478"/>
          <ac:picMkLst>
            <pc:docMk/>
            <pc:sldMk cId="3996674928" sldId="310"/>
            <ac:picMk id="3" creationId="{00000000-0000-0000-0000-000000000000}"/>
          </ac:picMkLst>
        </pc:picChg>
      </pc:sldChg>
      <pc:sldChg chg="addSp delSp modSp del addAnim delAnim">
        <pc:chgData name="Nam Tran" userId="4aee0b4974c0eb7e" providerId="LiveId" clId="{D82195CA-335C-41A3-B437-0AD3C755EB07}" dt="2019-06-04T14:03:52.811" v="1309" actId="2696"/>
        <pc:sldMkLst>
          <pc:docMk/>
          <pc:sldMk cId="1619888372" sldId="311"/>
        </pc:sldMkLst>
        <pc:spChg chg="add mod">
          <ac:chgData name="Nam Tran" userId="4aee0b4974c0eb7e" providerId="LiveId" clId="{D82195CA-335C-41A3-B437-0AD3C755EB07}" dt="2019-06-04T13:55:42.580" v="1234" actId="14100"/>
          <ac:spMkLst>
            <pc:docMk/>
            <pc:sldMk cId="1619888372" sldId="311"/>
            <ac:spMk id="2" creationId="{AD1EEA05-3D8E-4766-B212-26ED0BC0CAA9}"/>
          </ac:spMkLst>
        </pc:spChg>
        <pc:spChg chg="add mod">
          <ac:chgData name="Nam Tran" userId="4aee0b4974c0eb7e" providerId="LiveId" clId="{D82195CA-335C-41A3-B437-0AD3C755EB07}" dt="2019-06-04T13:59:41.544" v="1254"/>
          <ac:spMkLst>
            <pc:docMk/>
            <pc:sldMk cId="1619888372" sldId="311"/>
            <ac:spMk id="5" creationId="{F0CA26EF-9233-45F9-8883-125C42401C73}"/>
          </ac:spMkLst>
        </pc:spChg>
        <pc:spChg chg="del mod">
          <ac:chgData name="Nam Tran" userId="4aee0b4974c0eb7e" providerId="LiveId" clId="{D82195CA-335C-41A3-B437-0AD3C755EB07}" dt="2019-06-04T14:00:33.834" v="1264"/>
          <ac:spMkLst>
            <pc:docMk/>
            <pc:sldMk cId="1619888372" sldId="311"/>
            <ac:spMk id="7" creationId="{0DD28183-1710-413C-86B1-1FCDCCA24D85}"/>
          </ac:spMkLst>
        </pc:spChg>
        <pc:spChg chg="add del mod">
          <ac:chgData name="Nam Tran" userId="4aee0b4974c0eb7e" providerId="LiveId" clId="{D82195CA-335C-41A3-B437-0AD3C755EB07}" dt="2019-06-04T14:00:29.676" v="1261" actId="478"/>
          <ac:spMkLst>
            <pc:docMk/>
            <pc:sldMk cId="1619888372" sldId="311"/>
            <ac:spMk id="8" creationId="{4148E97C-6550-4ECC-A469-1017D7C9501A}"/>
          </ac:spMkLst>
        </pc:spChg>
        <pc:spChg chg="mod">
          <ac:chgData name="Nam Tran" userId="4aee0b4974c0eb7e" providerId="LiveId" clId="{D82195CA-335C-41A3-B437-0AD3C755EB07}" dt="2019-06-04T13:36:38.005" v="961" actId="20577"/>
          <ac:spMkLst>
            <pc:docMk/>
            <pc:sldMk cId="1619888372" sldId="311"/>
            <ac:spMk id="12" creationId="{00000000-0000-0000-0000-000000000000}"/>
          </ac:spMkLst>
        </pc:spChg>
        <pc:spChg chg="del mod">
          <ac:chgData name="Nam Tran" userId="4aee0b4974c0eb7e" providerId="LiveId" clId="{D82195CA-335C-41A3-B437-0AD3C755EB07}" dt="2019-06-04T13:54:59.364" v="1225" actId="478"/>
          <ac:spMkLst>
            <pc:docMk/>
            <pc:sldMk cId="1619888372" sldId="311"/>
            <ac:spMk id="13" creationId="{00000000-0000-0000-0000-000000000000}"/>
          </ac:spMkLst>
        </pc:spChg>
        <pc:spChg chg="del">
          <ac:chgData name="Nam Tran" userId="4aee0b4974c0eb7e" providerId="LiveId" clId="{D82195CA-335C-41A3-B437-0AD3C755EB07}" dt="2019-06-04T13:55:00.518" v="1226" actId="478"/>
          <ac:spMkLst>
            <pc:docMk/>
            <pc:sldMk cId="1619888372" sldId="311"/>
            <ac:spMk id="15" creationId="{00000000-0000-0000-0000-000000000000}"/>
          </ac:spMkLst>
        </pc:spChg>
        <pc:grpChg chg="add del">
          <ac:chgData name="Nam Tran" userId="4aee0b4974c0eb7e" providerId="LiveId" clId="{D82195CA-335C-41A3-B437-0AD3C755EB07}" dt="2019-06-04T13:55:25.907" v="1232" actId="478"/>
          <ac:grpSpMkLst>
            <pc:docMk/>
            <pc:sldMk cId="1619888372" sldId="311"/>
            <ac:grpSpMk id="3" creationId="{00000000-0000-0000-0000-000000000000}"/>
          </ac:grpSpMkLst>
        </pc:grpChg>
        <pc:picChg chg="del">
          <ac:chgData name="Nam Tran" userId="4aee0b4974c0eb7e" providerId="LiveId" clId="{D82195CA-335C-41A3-B437-0AD3C755EB07}" dt="2019-06-04T13:55:01.358" v="1227" actId="478"/>
          <ac:picMkLst>
            <pc:docMk/>
            <pc:sldMk cId="1619888372" sldId="311"/>
            <ac:picMk id="6" creationId="{00000000-0000-0000-0000-000000000000}"/>
          </ac:picMkLst>
        </pc:picChg>
      </pc:sldChg>
      <pc:sldChg chg="addSp delSp modSp ord addAnim delAnim modAnim modNotesTx">
        <pc:chgData name="Nam Tran" userId="4aee0b4974c0eb7e" providerId="LiveId" clId="{D82195CA-335C-41A3-B437-0AD3C755EB07}" dt="2019-06-04T15:27:14.494" v="2206" actId="20577"/>
        <pc:sldMkLst>
          <pc:docMk/>
          <pc:sldMk cId="3896360693" sldId="312"/>
        </pc:sldMkLst>
        <pc:spChg chg="mod">
          <ac:chgData name="Nam Tran" userId="4aee0b4974c0eb7e" providerId="LiveId" clId="{D82195CA-335C-41A3-B437-0AD3C755EB07}" dt="2019-06-04T09:46:39.760" v="64" actId="1076"/>
          <ac:spMkLst>
            <pc:docMk/>
            <pc:sldMk cId="3896360693" sldId="312"/>
            <ac:spMk id="4" creationId="{00000000-0000-0000-0000-000000000000}"/>
          </ac:spMkLst>
        </pc:spChg>
        <pc:spChg chg="mod">
          <ac:chgData name="Nam Tran" userId="4aee0b4974c0eb7e" providerId="LiveId" clId="{D82195CA-335C-41A3-B437-0AD3C755EB07}" dt="2019-06-04T09:46:57.617" v="94" actId="20577"/>
          <ac:spMkLst>
            <pc:docMk/>
            <pc:sldMk cId="3896360693" sldId="312"/>
            <ac:spMk id="12" creationId="{00000000-0000-0000-0000-000000000000}"/>
          </ac:spMkLst>
        </pc:spChg>
        <pc:spChg chg="del">
          <ac:chgData name="Nam Tran" userId="4aee0b4974c0eb7e" providerId="LiveId" clId="{D82195CA-335C-41A3-B437-0AD3C755EB07}" dt="2019-06-04T09:47:09.663" v="97" actId="478"/>
          <ac:spMkLst>
            <pc:docMk/>
            <pc:sldMk cId="3896360693" sldId="312"/>
            <ac:spMk id="15" creationId="{00000000-0000-0000-0000-000000000000}"/>
          </ac:spMkLst>
        </pc:spChg>
        <pc:spChg chg="del">
          <ac:chgData name="Nam Tran" userId="4aee0b4974c0eb7e" providerId="LiveId" clId="{D82195CA-335C-41A3-B437-0AD3C755EB07}" dt="2019-06-04T09:47:08.203" v="96" actId="478"/>
          <ac:spMkLst>
            <pc:docMk/>
            <pc:sldMk cId="3896360693" sldId="312"/>
            <ac:spMk id="46" creationId="{0B5F8152-5E9C-442C-ABE6-716440426962}"/>
          </ac:spMkLst>
        </pc:spChg>
        <pc:spChg chg="del">
          <ac:chgData name="Nam Tran" userId="4aee0b4974c0eb7e" providerId="LiveId" clId="{D82195CA-335C-41A3-B437-0AD3C755EB07}" dt="2019-06-04T09:47:14.259" v="100" actId="478"/>
          <ac:spMkLst>
            <pc:docMk/>
            <pc:sldMk cId="3896360693" sldId="312"/>
            <ac:spMk id="48" creationId="{1ACF685D-43A0-4B08-8E6E-F46311AB72FC}"/>
          </ac:spMkLst>
        </pc:spChg>
        <pc:spChg chg="del">
          <ac:chgData name="Nam Tran" userId="4aee0b4974c0eb7e" providerId="LiveId" clId="{D82195CA-335C-41A3-B437-0AD3C755EB07}" dt="2019-06-04T09:47:16.601" v="101" actId="478"/>
          <ac:spMkLst>
            <pc:docMk/>
            <pc:sldMk cId="3896360693" sldId="312"/>
            <ac:spMk id="49" creationId="{AE02535F-2306-4A7C-ABB9-AA2CAC4A4EFA}"/>
          </ac:spMkLst>
        </pc:spChg>
        <pc:spChg chg="add del">
          <ac:chgData name="Nam Tran" userId="4aee0b4974c0eb7e" providerId="LiveId" clId="{D82195CA-335C-41A3-B437-0AD3C755EB07}" dt="2019-06-04T09:47:24.432" v="106" actId="478"/>
          <ac:spMkLst>
            <pc:docMk/>
            <pc:sldMk cId="3896360693" sldId="312"/>
            <ac:spMk id="50" creationId="{61B92CF4-15FA-4C37-B62F-B69EA9E61930}"/>
          </ac:spMkLst>
        </pc:spChg>
        <pc:grpChg chg="ord">
          <ac:chgData name="Nam Tran" userId="4aee0b4974c0eb7e" providerId="LiveId" clId="{D82195CA-335C-41A3-B437-0AD3C755EB07}" dt="2019-06-04T09:47:42.718" v="111" actId="166"/>
          <ac:grpSpMkLst>
            <pc:docMk/>
            <pc:sldMk cId="3896360693" sldId="312"/>
            <ac:grpSpMk id="3" creationId="{00000000-0000-0000-0000-000000000000}"/>
          </ac:grpSpMkLst>
        </pc:grpChg>
        <pc:grpChg chg="del">
          <ac:chgData name="Nam Tran" userId="4aee0b4974c0eb7e" providerId="LiveId" clId="{D82195CA-335C-41A3-B437-0AD3C755EB07}" dt="2019-06-04T09:47:07.297" v="95" actId="478"/>
          <ac:grpSpMkLst>
            <pc:docMk/>
            <pc:sldMk cId="3896360693" sldId="312"/>
            <ac:grpSpMk id="29" creationId="{8EF551C9-66B1-4F04-862C-55CF27F58D7A}"/>
          </ac:grpSpMkLst>
        </pc:grpChg>
        <pc:picChg chg="add del">
          <ac:chgData name="Nam Tran" userId="4aee0b4974c0eb7e" providerId="LiveId" clId="{D82195CA-335C-41A3-B437-0AD3C755EB07}" dt="2019-06-04T09:47:21.845" v="104" actId="478"/>
          <ac:picMkLst>
            <pc:docMk/>
            <pc:sldMk cId="3896360693" sldId="312"/>
            <ac:picMk id="6" creationId="{00000000-0000-0000-0000-000000000000}"/>
          </ac:picMkLst>
        </pc:picChg>
        <pc:picChg chg="add mod">
          <ac:chgData name="Nam Tran" userId="4aee0b4974c0eb7e" providerId="LiveId" clId="{D82195CA-335C-41A3-B437-0AD3C755EB07}" dt="2019-06-04T09:47:49.177" v="113" actId="1076"/>
          <ac:picMkLst>
            <pc:docMk/>
            <pc:sldMk cId="3896360693" sldId="312"/>
            <ac:picMk id="51" creationId="{63709904-887C-4325-86B8-7F357C0FC1C4}"/>
          </ac:picMkLst>
        </pc:picChg>
        <pc:cxnChg chg="del">
          <ac:chgData name="Nam Tran" userId="4aee0b4974c0eb7e" providerId="LiveId" clId="{D82195CA-335C-41A3-B437-0AD3C755EB07}" dt="2019-06-04T09:47:11.362" v="98" actId="478"/>
          <ac:cxnSpMkLst>
            <pc:docMk/>
            <pc:sldMk cId="3896360693" sldId="312"/>
            <ac:cxnSpMk id="8" creationId="{DAD3A75B-6019-48E7-9708-F0735B520851}"/>
          </ac:cxnSpMkLst>
        </pc:cxnChg>
        <pc:cxnChg chg="del">
          <ac:chgData name="Nam Tran" userId="4aee0b4974c0eb7e" providerId="LiveId" clId="{D82195CA-335C-41A3-B437-0AD3C755EB07}" dt="2019-06-04T09:47:12.449" v="99" actId="478"/>
          <ac:cxnSpMkLst>
            <pc:docMk/>
            <pc:sldMk cId="3896360693" sldId="312"/>
            <ac:cxnSpMk id="47" creationId="{E9C57FFF-C849-4F19-B56F-D4E0726B2647}"/>
          </ac:cxnSpMkLst>
        </pc:cxnChg>
      </pc:sldChg>
      <pc:sldChg chg="addSp delSp modSp del">
        <pc:chgData name="Nam Tran" userId="4aee0b4974c0eb7e" providerId="LiveId" clId="{D82195CA-335C-41A3-B437-0AD3C755EB07}" dt="2019-06-04T16:23:29.981" v="2786" actId="2696"/>
        <pc:sldMkLst>
          <pc:docMk/>
          <pc:sldMk cId="3705513704" sldId="314"/>
        </pc:sldMkLst>
        <pc:spChg chg="add del mod">
          <ac:chgData name="Nam Tran" userId="4aee0b4974c0eb7e" providerId="LiveId" clId="{D82195CA-335C-41A3-B437-0AD3C755EB07}" dt="2019-06-04T13:46:09.586" v="1097" actId="14100"/>
          <ac:spMkLst>
            <pc:docMk/>
            <pc:sldMk cId="3705513704" sldId="314"/>
            <ac:spMk id="5" creationId="{5815D765-0871-4475-B073-C8F1C780D569}"/>
          </ac:spMkLst>
        </pc:spChg>
      </pc:sldChg>
      <pc:sldChg chg="del">
        <pc:chgData name="Nam Tran" userId="4aee0b4974c0eb7e" providerId="LiveId" clId="{D82195CA-335C-41A3-B437-0AD3C755EB07}" dt="2019-06-04T16:23:33.714" v="2788" actId="2696"/>
        <pc:sldMkLst>
          <pc:docMk/>
          <pc:sldMk cId="2349746449" sldId="316"/>
        </pc:sldMkLst>
      </pc:sldChg>
      <pc:sldChg chg="del">
        <pc:chgData name="Nam Tran" userId="4aee0b4974c0eb7e" providerId="LiveId" clId="{D82195CA-335C-41A3-B437-0AD3C755EB07}" dt="2019-06-04T16:23:35.964" v="2790" actId="2696"/>
        <pc:sldMkLst>
          <pc:docMk/>
          <pc:sldMk cId="2579859582" sldId="317"/>
        </pc:sldMkLst>
      </pc:sldChg>
      <pc:sldChg chg="del">
        <pc:chgData name="Nam Tran" userId="4aee0b4974c0eb7e" providerId="LiveId" clId="{D82195CA-335C-41A3-B437-0AD3C755EB07}" dt="2019-06-04T16:23:36.995" v="2791" actId="2696"/>
        <pc:sldMkLst>
          <pc:docMk/>
          <pc:sldMk cId="169162463" sldId="318"/>
        </pc:sldMkLst>
      </pc:sldChg>
      <pc:sldChg chg="del">
        <pc:chgData name="Nam Tran" userId="4aee0b4974c0eb7e" providerId="LiveId" clId="{D82195CA-335C-41A3-B437-0AD3C755EB07}" dt="2019-06-04T16:25:21.719" v="2906" actId="2696"/>
        <pc:sldMkLst>
          <pc:docMk/>
          <pc:sldMk cId="2871810897" sldId="319"/>
        </pc:sldMkLst>
      </pc:sldChg>
      <pc:sldChg chg="del">
        <pc:chgData name="Nam Tran" userId="4aee0b4974c0eb7e" providerId="LiveId" clId="{D82195CA-335C-41A3-B437-0AD3C755EB07}" dt="2019-06-04T16:23:31.480" v="2787" actId="2696"/>
        <pc:sldMkLst>
          <pc:docMk/>
          <pc:sldMk cId="1660622835" sldId="320"/>
        </pc:sldMkLst>
      </pc:sldChg>
      <pc:sldChg chg="del">
        <pc:chgData name="Nam Tran" userId="4aee0b4974c0eb7e" providerId="LiveId" clId="{D82195CA-335C-41A3-B437-0AD3C755EB07}" dt="2019-06-04T16:23:38.510" v="2792" actId="2696"/>
        <pc:sldMkLst>
          <pc:docMk/>
          <pc:sldMk cId="3744295636" sldId="322"/>
        </pc:sldMkLst>
      </pc:sldChg>
      <pc:sldChg chg="add del">
        <pc:chgData name="Nam Tran" userId="4aee0b4974c0eb7e" providerId="LiveId" clId="{D82195CA-335C-41A3-B437-0AD3C755EB07}" dt="2019-06-04T16:49:00.862" v="3363" actId="2696"/>
        <pc:sldMkLst>
          <pc:docMk/>
          <pc:sldMk cId="3423166841" sldId="323"/>
        </pc:sldMkLst>
      </pc:sldChg>
      <pc:sldChg chg="add del">
        <pc:chgData name="Nam Tran" userId="4aee0b4974c0eb7e" providerId="LiveId" clId="{D82195CA-335C-41A3-B437-0AD3C755EB07}" dt="2019-06-04T16:49:01.925" v="3364" actId="2696"/>
        <pc:sldMkLst>
          <pc:docMk/>
          <pc:sldMk cId="3646134463" sldId="324"/>
        </pc:sldMkLst>
      </pc:sldChg>
      <pc:sldChg chg="del">
        <pc:chgData name="Nam Tran" userId="4aee0b4974c0eb7e" providerId="LiveId" clId="{D82195CA-335C-41A3-B437-0AD3C755EB07}" dt="2019-06-04T16:47:53.597" v="3350" actId="2696"/>
        <pc:sldMkLst>
          <pc:docMk/>
          <pc:sldMk cId="1445596070" sldId="325"/>
        </pc:sldMkLst>
      </pc:sldChg>
      <pc:sldChg chg="add del">
        <pc:chgData name="Nam Tran" userId="4aee0b4974c0eb7e" providerId="LiveId" clId="{D82195CA-335C-41A3-B437-0AD3C755EB07}" dt="2019-06-04T16:48:57.894" v="3361" actId="2696"/>
        <pc:sldMkLst>
          <pc:docMk/>
          <pc:sldMk cId="2620395444" sldId="326"/>
        </pc:sldMkLst>
      </pc:sldChg>
      <pc:sldChg chg="modSp del modNotesTx">
        <pc:chgData name="Nam Tran" userId="4aee0b4974c0eb7e" providerId="LiveId" clId="{D82195CA-335C-41A3-B437-0AD3C755EB07}" dt="2019-06-04T16:23:34.698" v="2789" actId="2696"/>
        <pc:sldMkLst>
          <pc:docMk/>
          <pc:sldMk cId="2455806420" sldId="327"/>
        </pc:sldMkLst>
        <pc:graphicFrameChg chg="mod modGraphic">
          <ac:chgData name="Nam Tran" userId="4aee0b4974c0eb7e" providerId="LiveId" clId="{D82195CA-335C-41A3-B437-0AD3C755EB07}" dt="2019-06-04T14:10:21.393" v="1562" actId="20577"/>
          <ac:graphicFrameMkLst>
            <pc:docMk/>
            <pc:sldMk cId="2455806420" sldId="327"/>
            <ac:graphicFrameMk id="2" creationId="{8AF167CE-9B98-421C-9674-E4DC8F8CF009}"/>
          </ac:graphicFrameMkLst>
        </pc:graphicFrameChg>
      </pc:sldChg>
      <pc:sldChg chg="del">
        <pc:chgData name="Nam Tran" userId="4aee0b4974c0eb7e" providerId="LiveId" clId="{D82195CA-335C-41A3-B437-0AD3C755EB07}" dt="2019-06-04T16:25:44.151" v="2913" actId="2696"/>
        <pc:sldMkLst>
          <pc:docMk/>
          <pc:sldMk cId="3286451701" sldId="328"/>
        </pc:sldMkLst>
      </pc:sldChg>
      <pc:sldChg chg="del">
        <pc:chgData name="Nam Tran" userId="4aee0b4974c0eb7e" providerId="LiveId" clId="{D82195CA-335C-41A3-B437-0AD3C755EB07}" dt="2019-06-04T16:25:42.776" v="2911" actId="2696"/>
        <pc:sldMkLst>
          <pc:docMk/>
          <pc:sldMk cId="2829729218" sldId="329"/>
        </pc:sldMkLst>
      </pc:sldChg>
      <pc:sldChg chg="modSp add del">
        <pc:chgData name="Nam Tran" userId="4aee0b4974c0eb7e" providerId="LiveId" clId="{D82195CA-335C-41A3-B437-0AD3C755EB07}" dt="2019-06-04T16:49:55.568" v="3407" actId="20577"/>
        <pc:sldMkLst>
          <pc:docMk/>
          <pc:sldMk cId="2785076962" sldId="330"/>
        </pc:sldMkLst>
        <pc:spChg chg="mod">
          <ac:chgData name="Nam Tran" userId="4aee0b4974c0eb7e" providerId="LiveId" clId="{D82195CA-335C-41A3-B437-0AD3C755EB07}" dt="2019-06-04T16:49:55.568" v="3407" actId="20577"/>
          <ac:spMkLst>
            <pc:docMk/>
            <pc:sldMk cId="2785076962" sldId="330"/>
            <ac:spMk id="5" creationId="{B9F82F51-F39A-4240-B1FF-F97902F75CE5}"/>
          </ac:spMkLst>
        </pc:spChg>
      </pc:sldChg>
      <pc:sldChg chg="del">
        <pc:chgData name="Nam Tran" userId="4aee0b4974c0eb7e" providerId="LiveId" clId="{D82195CA-335C-41A3-B437-0AD3C755EB07}" dt="2019-06-04T16:25:43.542" v="2912" actId="2696"/>
        <pc:sldMkLst>
          <pc:docMk/>
          <pc:sldMk cId="2811547192" sldId="331"/>
        </pc:sldMkLst>
      </pc:sldChg>
      <pc:sldChg chg="del">
        <pc:chgData name="Nam Tran" userId="4aee0b4974c0eb7e" providerId="LiveId" clId="{D82195CA-335C-41A3-B437-0AD3C755EB07}" dt="2019-06-04T12:49:42.948" v="459" actId="2696"/>
        <pc:sldMkLst>
          <pc:docMk/>
          <pc:sldMk cId="1356317340" sldId="332"/>
        </pc:sldMkLst>
      </pc:sldChg>
      <pc:sldChg chg="del">
        <pc:chgData name="Nam Tran" userId="4aee0b4974c0eb7e" providerId="LiveId" clId="{D82195CA-335C-41A3-B437-0AD3C755EB07}" dt="2019-06-04T12:49:43.897" v="460" actId="2696"/>
        <pc:sldMkLst>
          <pc:docMk/>
          <pc:sldMk cId="1726420510" sldId="333"/>
        </pc:sldMkLst>
      </pc:sldChg>
      <pc:sldChg chg="del">
        <pc:chgData name="Nam Tran" userId="4aee0b4974c0eb7e" providerId="LiveId" clId="{D82195CA-335C-41A3-B437-0AD3C755EB07}" dt="2019-06-04T13:52:02.513" v="1204" actId="2696"/>
        <pc:sldMkLst>
          <pc:docMk/>
          <pc:sldMk cId="2534843714" sldId="334"/>
        </pc:sldMkLst>
      </pc:sldChg>
      <pc:sldChg chg="addSp delSp modSp add del mod setBg setClrOvrMap delDesignElem">
        <pc:chgData name="Nam Tran" userId="4aee0b4974c0eb7e" providerId="LiveId" clId="{D82195CA-335C-41A3-B437-0AD3C755EB07}" dt="2019-06-04T12:58:48.068" v="500" actId="2696"/>
        <pc:sldMkLst>
          <pc:docMk/>
          <pc:sldMk cId="1520459486" sldId="335"/>
        </pc:sldMkLst>
        <pc:spChg chg="add del mod">
          <ac:chgData name="Nam Tran" userId="4aee0b4974c0eb7e" providerId="LiveId" clId="{D82195CA-335C-41A3-B437-0AD3C755EB07}" dt="2019-06-04T10:01:01.692" v="421" actId="26606"/>
          <ac:spMkLst>
            <pc:docMk/>
            <pc:sldMk cId="1520459486" sldId="335"/>
            <ac:spMk id="2" creationId="{3274E03F-1024-4AA2-80FB-6996E872BD10}"/>
          </ac:spMkLst>
        </pc:spChg>
        <pc:spChg chg="add del mod">
          <ac:chgData name="Nam Tran" userId="4aee0b4974c0eb7e" providerId="LiveId" clId="{D82195CA-335C-41A3-B437-0AD3C755EB07}" dt="2019-06-04T10:01:01.692" v="421" actId="26606"/>
          <ac:spMkLst>
            <pc:docMk/>
            <pc:sldMk cId="1520459486" sldId="335"/>
            <ac:spMk id="3" creationId="{F340F8BD-9554-4EA1-966D-1C557695B708}"/>
          </ac:spMkLst>
        </pc:spChg>
        <pc:spChg chg="add del mod">
          <ac:chgData name="Nam Tran" userId="4aee0b4974c0eb7e" providerId="LiveId" clId="{D82195CA-335C-41A3-B437-0AD3C755EB07}" dt="2019-06-04T10:04:15.969" v="458"/>
          <ac:spMkLst>
            <pc:docMk/>
            <pc:sldMk cId="1520459486" sldId="335"/>
            <ac:spMk id="5" creationId="{44CF191E-1801-4300-880D-6CF75D27CEA6}"/>
          </ac:spMkLst>
        </pc:spChg>
        <pc:spChg chg="add del mod">
          <ac:chgData name="Nam Tran" userId="4aee0b4974c0eb7e" providerId="LiveId" clId="{D82195CA-335C-41A3-B437-0AD3C755EB07}" dt="2019-06-04T10:04:15.969" v="458"/>
          <ac:spMkLst>
            <pc:docMk/>
            <pc:sldMk cId="1520459486" sldId="335"/>
            <ac:spMk id="6" creationId="{339DDA58-991B-4B5E-B228-1AC70BF9EB96}"/>
          </ac:spMkLst>
        </pc:spChg>
        <pc:spChg chg="add del mod">
          <ac:chgData name="Nam Tran" userId="4aee0b4974c0eb7e" providerId="LiveId" clId="{D82195CA-335C-41A3-B437-0AD3C755EB07}" dt="2019-06-04T12:58:03.206" v="493"/>
          <ac:spMkLst>
            <pc:docMk/>
            <pc:sldMk cId="1520459486" sldId="335"/>
            <ac:spMk id="8" creationId="{69E88716-FA32-45CF-934F-F277628C54D9}"/>
          </ac:spMkLst>
        </pc:spChg>
        <pc:spChg chg="add del">
          <ac:chgData name="Nam Tran" userId="4aee0b4974c0eb7e" providerId="LiveId" clId="{D82195CA-335C-41A3-B437-0AD3C755EB07}" dt="2019-06-04T10:00:58.884" v="418" actId="26606"/>
          <ac:spMkLst>
            <pc:docMk/>
            <pc:sldMk cId="1520459486" sldId="335"/>
            <ac:spMk id="9" creationId="{3CD9DF72-87A3-404E-A828-84CBF11A8303}"/>
          </ac:spMkLst>
        </pc:spChg>
        <pc:spChg chg="add del">
          <ac:chgData name="Nam Tran" userId="4aee0b4974c0eb7e" providerId="LiveId" clId="{D82195CA-335C-41A3-B437-0AD3C755EB07}" dt="2019-06-04T10:01:10.871" v="425"/>
          <ac:spMkLst>
            <pc:docMk/>
            <pc:sldMk cId="1520459486" sldId="335"/>
            <ac:spMk id="12" creationId="{3CD9DF72-87A3-404E-A828-84CBF11A8303}"/>
          </ac:spMkLst>
        </pc:spChg>
        <pc:spChg chg="add del">
          <ac:chgData name="Nam Tran" userId="4aee0b4974c0eb7e" providerId="LiveId" clId="{D82195CA-335C-41A3-B437-0AD3C755EB07}" dt="2019-06-04T10:01:10.871" v="425"/>
          <ac:spMkLst>
            <pc:docMk/>
            <pc:sldMk cId="1520459486" sldId="335"/>
            <ac:spMk id="13" creationId="{3274E03F-1024-4AA2-80FB-6996E872BD10}"/>
          </ac:spMkLst>
        </pc:spChg>
        <pc:spChg chg="add del">
          <ac:chgData name="Nam Tran" userId="4aee0b4974c0eb7e" providerId="LiveId" clId="{D82195CA-335C-41A3-B437-0AD3C755EB07}" dt="2019-06-04T10:01:10.871" v="425"/>
          <ac:spMkLst>
            <pc:docMk/>
            <pc:sldMk cId="1520459486" sldId="335"/>
            <ac:spMk id="15" creationId="{F340F8BD-9554-4EA1-966D-1C557695B708}"/>
          </ac:spMkLst>
        </pc:spChg>
        <pc:spChg chg="add del">
          <ac:chgData name="Nam Tran" userId="4aee0b4974c0eb7e" providerId="LiveId" clId="{D82195CA-335C-41A3-B437-0AD3C755EB07}" dt="2019-06-04T10:04:15.969" v="458"/>
          <ac:spMkLst>
            <pc:docMk/>
            <pc:sldMk cId="1520459486" sldId="335"/>
            <ac:spMk id="16" creationId="{9228552E-C8B1-4A80-8448-0787CE0FC704}"/>
          </ac:spMkLst>
        </pc:spChg>
        <pc:spChg chg="add del mod">
          <ac:chgData name="Nam Tran" userId="4aee0b4974c0eb7e" providerId="LiveId" clId="{D82195CA-335C-41A3-B437-0AD3C755EB07}" dt="2019-06-04T12:58:03.206" v="493"/>
          <ac:spMkLst>
            <pc:docMk/>
            <pc:sldMk cId="1520459486" sldId="335"/>
            <ac:spMk id="17" creationId="{3552F23A-AE10-427D-B221-364FBE1234E1}"/>
          </ac:spMkLst>
        </pc:spChg>
        <pc:spChg chg="add del mod">
          <ac:chgData name="Nam Tran" userId="4aee0b4974c0eb7e" providerId="LiveId" clId="{D82195CA-335C-41A3-B437-0AD3C755EB07}" dt="2019-06-04T12:58:03.206" v="493"/>
          <ac:spMkLst>
            <pc:docMk/>
            <pc:sldMk cId="1520459486" sldId="335"/>
            <ac:spMk id="18" creationId="{4129969C-58F3-4C1E-9617-E0AA3698E630}"/>
          </ac:spMkLst>
        </pc:spChg>
        <pc:spChg chg="add del mod">
          <ac:chgData name="Nam Tran" userId="4aee0b4974c0eb7e" providerId="LiveId" clId="{D82195CA-335C-41A3-B437-0AD3C755EB07}" dt="2019-06-04T12:58:03.206" v="493"/>
          <ac:spMkLst>
            <pc:docMk/>
            <pc:sldMk cId="1520459486" sldId="335"/>
            <ac:spMk id="19" creationId="{260B1E8E-A4EE-4DDA-8756-13A69840AF9C}"/>
          </ac:spMkLst>
        </pc:spChg>
        <pc:spChg chg="add del mod">
          <ac:chgData name="Nam Tran" userId="4aee0b4974c0eb7e" providerId="LiveId" clId="{D82195CA-335C-41A3-B437-0AD3C755EB07}" dt="2019-06-04T12:58:03.206" v="493"/>
          <ac:spMkLst>
            <pc:docMk/>
            <pc:sldMk cId="1520459486" sldId="335"/>
            <ac:spMk id="20" creationId="{11EF876A-C38F-417B-80A5-6D27E42B1FF3}"/>
          </ac:spMkLst>
        </pc:spChg>
        <pc:picChg chg="add del mod ord">
          <ac:chgData name="Nam Tran" userId="4aee0b4974c0eb7e" providerId="LiveId" clId="{D82195CA-335C-41A3-B437-0AD3C755EB07}" dt="2019-06-04T10:01:01.692" v="421" actId="26606"/>
          <ac:picMkLst>
            <pc:docMk/>
            <pc:sldMk cId="1520459486" sldId="335"/>
            <ac:picMk id="4" creationId="{DDB1443C-21F7-44CE-B11A-CB709F8ACB81}"/>
          </ac:picMkLst>
        </pc:picChg>
        <pc:picChg chg="add del">
          <ac:chgData name="Nam Tran" userId="4aee0b4974c0eb7e" providerId="LiveId" clId="{D82195CA-335C-41A3-B437-0AD3C755EB07}" dt="2019-06-04T10:01:01.618" v="420" actId="26606"/>
          <ac:picMkLst>
            <pc:docMk/>
            <pc:sldMk cId="1520459486" sldId="335"/>
            <ac:picMk id="7" creationId="{DDB1443C-21F7-44CE-B11A-CB709F8ACB81}"/>
          </ac:picMkLst>
        </pc:picChg>
        <pc:picChg chg="add mod">
          <ac:chgData name="Nam Tran" userId="4aee0b4974c0eb7e" providerId="LiveId" clId="{D82195CA-335C-41A3-B437-0AD3C755EB07}" dt="2019-06-04T12:58:08.382" v="496" actId="26606"/>
          <ac:picMkLst>
            <pc:docMk/>
            <pc:sldMk cId="1520459486" sldId="335"/>
            <ac:picMk id="10" creationId="{DDB1443C-21F7-44CE-B11A-CB709F8ACB81}"/>
          </ac:picMkLst>
        </pc:picChg>
        <pc:picChg chg="add del">
          <ac:chgData name="Nam Tran" userId="4aee0b4974c0eb7e" providerId="LiveId" clId="{D82195CA-335C-41A3-B437-0AD3C755EB07}" dt="2019-06-04T12:58:08.319" v="495" actId="26606"/>
          <ac:picMkLst>
            <pc:docMk/>
            <pc:sldMk cId="1520459486" sldId="335"/>
            <ac:picMk id="21" creationId="{CB607B98-7700-4DC9-8BE8-A876255F9C52}"/>
          </ac:picMkLst>
        </pc:picChg>
        <pc:cxnChg chg="add del">
          <ac:chgData name="Nam Tran" userId="4aee0b4974c0eb7e" providerId="LiveId" clId="{D82195CA-335C-41A3-B437-0AD3C755EB07}" dt="2019-06-04T10:00:58.884" v="418" actId="26606"/>
          <ac:cxnSpMkLst>
            <pc:docMk/>
            <pc:sldMk cId="1520459486" sldId="335"/>
            <ac:cxnSpMk id="11" creationId="{20E3A342-4D61-4E3F-AF90-1AB42AEB96CC}"/>
          </ac:cxnSpMkLst>
        </pc:cxnChg>
        <pc:cxnChg chg="add del">
          <ac:chgData name="Nam Tran" userId="4aee0b4974c0eb7e" providerId="LiveId" clId="{D82195CA-335C-41A3-B437-0AD3C755EB07}" dt="2019-06-04T10:01:10.871" v="425"/>
          <ac:cxnSpMkLst>
            <pc:docMk/>
            <pc:sldMk cId="1520459486" sldId="335"/>
            <ac:cxnSpMk id="14" creationId="{20E3A342-4D61-4E3F-AF90-1AB42AEB96CC}"/>
          </ac:cxnSpMkLst>
        </pc:cxnChg>
      </pc:sldChg>
      <pc:sldChg chg="modSp add del">
        <pc:chgData name="Nam Tran" userId="4aee0b4974c0eb7e" providerId="LiveId" clId="{D82195CA-335C-41A3-B437-0AD3C755EB07}" dt="2019-06-04T12:58:39.185" v="498" actId="2696"/>
        <pc:sldMkLst>
          <pc:docMk/>
          <pc:sldMk cId="3177194724" sldId="336"/>
        </pc:sldMkLst>
        <pc:spChg chg="mod">
          <ac:chgData name="Nam Tran" userId="4aee0b4974c0eb7e" providerId="LiveId" clId="{D82195CA-335C-41A3-B437-0AD3C755EB07}" dt="2019-06-04T12:57:28.281" v="473" actId="20577"/>
          <ac:spMkLst>
            <pc:docMk/>
            <pc:sldMk cId="3177194724" sldId="336"/>
            <ac:spMk id="2" creationId="{956976D4-B7D7-4628-A41D-A66B81CAF980}"/>
          </ac:spMkLst>
        </pc:spChg>
        <pc:spChg chg="mod">
          <ac:chgData name="Nam Tran" userId="4aee0b4974c0eb7e" providerId="LiveId" clId="{D82195CA-335C-41A3-B437-0AD3C755EB07}" dt="2019-06-04T12:57:34.889" v="490" actId="20577"/>
          <ac:spMkLst>
            <pc:docMk/>
            <pc:sldMk cId="3177194724" sldId="336"/>
            <ac:spMk id="3" creationId="{06158995-5A5C-44D5-AB3D-920BE23F3144}"/>
          </ac:spMkLst>
        </pc:spChg>
      </pc:sldChg>
      <pc:sldChg chg="addSp delSp modSp add del mod ord setBg">
        <pc:chgData name="Nam Tran" userId="4aee0b4974c0eb7e" providerId="LiveId" clId="{D82195CA-335C-41A3-B437-0AD3C755EB07}" dt="2019-06-04T16:06:09.353" v="2398" actId="2696"/>
        <pc:sldMkLst>
          <pc:docMk/>
          <pc:sldMk cId="553387966" sldId="337"/>
        </pc:sldMkLst>
        <pc:spChg chg="del">
          <ac:chgData name="Nam Tran" userId="4aee0b4974c0eb7e" providerId="LiveId" clId="{D82195CA-335C-41A3-B437-0AD3C755EB07}" dt="2019-06-04T12:57:55.161" v="492"/>
          <ac:spMkLst>
            <pc:docMk/>
            <pc:sldMk cId="553387966" sldId="337"/>
            <ac:spMk id="8" creationId="{69E88716-FA32-45CF-934F-F277628C54D9}"/>
          </ac:spMkLst>
        </pc:spChg>
        <pc:spChg chg="add del">
          <ac:chgData name="Nam Tran" userId="4aee0b4974c0eb7e" providerId="LiveId" clId="{D82195CA-335C-41A3-B437-0AD3C755EB07}" dt="2019-06-04T13:57:43.325" v="1241" actId="26606"/>
          <ac:spMkLst>
            <pc:docMk/>
            <pc:sldMk cId="553387966" sldId="337"/>
            <ac:spMk id="12" creationId="{C651F706-C94E-46D4-BAAE-BAFD1AD976FE}"/>
          </ac:spMkLst>
        </pc:spChg>
        <pc:spChg chg="add del">
          <ac:chgData name="Nam Tran" userId="4aee0b4974c0eb7e" providerId="LiveId" clId="{D82195CA-335C-41A3-B437-0AD3C755EB07}" dt="2019-06-04T13:57:43.325" v="1241" actId="26606"/>
          <ac:spMkLst>
            <pc:docMk/>
            <pc:sldMk cId="553387966" sldId="337"/>
            <ac:spMk id="15" creationId="{A4D1609B-102A-4C77-86A2-ACB29FB96D59}"/>
          </ac:spMkLst>
        </pc:spChg>
        <pc:spChg chg="del">
          <ac:chgData name="Nam Tran" userId="4aee0b4974c0eb7e" providerId="LiveId" clId="{D82195CA-335C-41A3-B437-0AD3C755EB07}" dt="2019-06-04T12:57:55.161" v="492"/>
          <ac:spMkLst>
            <pc:docMk/>
            <pc:sldMk cId="553387966" sldId="337"/>
            <ac:spMk id="17" creationId="{3552F23A-AE10-427D-B221-364FBE1234E1}"/>
          </ac:spMkLst>
        </pc:spChg>
        <pc:spChg chg="del">
          <ac:chgData name="Nam Tran" userId="4aee0b4974c0eb7e" providerId="LiveId" clId="{D82195CA-335C-41A3-B437-0AD3C755EB07}" dt="2019-06-04T12:57:55.161" v="492"/>
          <ac:spMkLst>
            <pc:docMk/>
            <pc:sldMk cId="553387966" sldId="337"/>
            <ac:spMk id="18" creationId="{4129969C-58F3-4C1E-9617-E0AA3698E630}"/>
          </ac:spMkLst>
        </pc:spChg>
        <pc:spChg chg="del">
          <ac:chgData name="Nam Tran" userId="4aee0b4974c0eb7e" providerId="LiveId" clId="{D82195CA-335C-41A3-B437-0AD3C755EB07}" dt="2019-06-04T12:57:55.161" v="492"/>
          <ac:spMkLst>
            <pc:docMk/>
            <pc:sldMk cId="553387966" sldId="337"/>
            <ac:spMk id="19" creationId="{260B1E8E-A4EE-4DDA-8756-13A69840AF9C}"/>
          </ac:spMkLst>
        </pc:spChg>
        <pc:spChg chg="del">
          <ac:chgData name="Nam Tran" userId="4aee0b4974c0eb7e" providerId="LiveId" clId="{D82195CA-335C-41A3-B437-0AD3C755EB07}" dt="2019-06-04T12:57:55.161" v="492"/>
          <ac:spMkLst>
            <pc:docMk/>
            <pc:sldMk cId="553387966" sldId="337"/>
            <ac:spMk id="20" creationId="{11EF876A-C38F-417B-80A5-6D27E42B1FF3}"/>
          </ac:spMkLst>
        </pc:spChg>
        <pc:picChg chg="mod">
          <ac:chgData name="Nam Tran" userId="4aee0b4974c0eb7e" providerId="LiveId" clId="{D82195CA-335C-41A3-B437-0AD3C755EB07}" dt="2019-06-04T13:58:02.233" v="1247" actId="26606"/>
          <ac:picMkLst>
            <pc:docMk/>
            <pc:sldMk cId="553387966" sldId="337"/>
            <ac:picMk id="10" creationId="{DDB1443C-21F7-44CE-B11A-CB709F8ACB81}"/>
          </ac:picMkLst>
        </pc:picChg>
        <pc:picChg chg="add del">
          <ac:chgData name="Nam Tran" userId="4aee0b4974c0eb7e" providerId="LiveId" clId="{D82195CA-335C-41A3-B437-0AD3C755EB07}" dt="2019-06-04T13:57:51.939" v="1245" actId="26606"/>
          <ac:picMkLst>
            <pc:docMk/>
            <pc:sldMk cId="553387966" sldId="337"/>
            <ac:picMk id="13" creationId="{7309214B-9B60-4A94-88B5-44CB8D263285}"/>
          </ac:picMkLst>
        </pc:picChg>
      </pc:sldChg>
      <pc:sldChg chg="addSp delSp modSp add mod setBg setClrOvrMap modNotesTx">
        <pc:chgData name="Nam Tran" userId="4aee0b4974c0eb7e" providerId="LiveId" clId="{D82195CA-335C-41A3-B437-0AD3C755EB07}" dt="2019-06-04T16:26:51.994" v="2935" actId="20577"/>
        <pc:sldMkLst>
          <pc:docMk/>
          <pc:sldMk cId="3578077989" sldId="338"/>
        </pc:sldMkLst>
        <pc:spChg chg="add mod">
          <ac:chgData name="Nam Tran" userId="4aee0b4974c0eb7e" providerId="LiveId" clId="{D82195CA-335C-41A3-B437-0AD3C755EB07}" dt="2019-06-04T13:54:40.110" v="1223" actId="26606"/>
          <ac:spMkLst>
            <pc:docMk/>
            <pc:sldMk cId="3578077989" sldId="338"/>
            <ac:spMk id="2" creationId="{E4D2CD0E-3D1E-4E4A-9402-0203444C6889}"/>
          </ac:spMkLst>
        </pc:spChg>
        <pc:spChg chg="add del mod">
          <ac:chgData name="Nam Tran" userId="4aee0b4974c0eb7e" providerId="LiveId" clId="{D82195CA-335C-41A3-B437-0AD3C755EB07}" dt="2019-06-04T13:26:40.313" v="620" actId="1032"/>
          <ac:spMkLst>
            <pc:docMk/>
            <pc:sldMk cId="3578077989" sldId="338"/>
            <ac:spMk id="3" creationId="{1A404F4A-2035-4BC8-81FD-7F32397B7C59}"/>
          </ac:spMkLst>
        </pc:spChg>
        <pc:spChg chg="add del">
          <ac:chgData name="Nam Tran" userId="4aee0b4974c0eb7e" providerId="LiveId" clId="{D82195CA-335C-41A3-B437-0AD3C755EB07}" dt="2019-06-04T13:58:55.575" v="1253" actId="26606"/>
          <ac:spMkLst>
            <pc:docMk/>
            <pc:sldMk cId="3578077989" sldId="338"/>
            <ac:spMk id="15" creationId="{9228552E-C8B1-4A80-8448-0787CE0FC704}"/>
          </ac:spMkLst>
        </pc:spChg>
        <pc:spChg chg="add del">
          <ac:chgData name="Nam Tran" userId="4aee0b4974c0eb7e" providerId="LiveId" clId="{D82195CA-335C-41A3-B437-0AD3C755EB07}" dt="2019-06-04T13:58:55.575" v="1253" actId="26606"/>
          <ac:spMkLst>
            <pc:docMk/>
            <pc:sldMk cId="3578077989" sldId="338"/>
            <ac:spMk id="20" creationId="{9228552E-C8B1-4A80-8448-0787CE0FC704}"/>
          </ac:spMkLst>
        </pc:spChg>
        <pc:graphicFrameChg chg="add mod modGraphic">
          <ac:chgData name="Nam Tran" userId="4aee0b4974c0eb7e" providerId="LiveId" clId="{D82195CA-335C-41A3-B437-0AD3C755EB07}" dt="2019-06-04T16:26:51.994" v="2935" actId="20577"/>
          <ac:graphicFrameMkLst>
            <pc:docMk/>
            <pc:sldMk cId="3578077989" sldId="338"/>
            <ac:graphicFrameMk id="4" creationId="{CB58AE11-E3C1-4A66-B73D-CB578012D131}"/>
          </ac:graphicFrameMkLst>
        </pc:graphicFrameChg>
      </pc:sldChg>
      <pc:sldChg chg="addSp modSp add mod setBg setClrOvrMap">
        <pc:chgData name="Nam Tran" userId="4aee0b4974c0eb7e" providerId="LiveId" clId="{D82195CA-335C-41A3-B437-0AD3C755EB07}" dt="2019-06-04T15:02:32.248" v="2146" actId="14100"/>
        <pc:sldMkLst>
          <pc:docMk/>
          <pc:sldMk cId="1694263157" sldId="339"/>
        </pc:sldMkLst>
        <pc:spChg chg="add mod">
          <ac:chgData name="Nam Tran" userId="4aee0b4974c0eb7e" providerId="LiveId" clId="{D82195CA-335C-41A3-B437-0AD3C755EB07}" dt="2019-06-04T13:54:50.397" v="1224" actId="26606"/>
          <ac:spMkLst>
            <pc:docMk/>
            <pc:sldMk cId="1694263157" sldId="339"/>
            <ac:spMk id="2" creationId="{FD2D4BF7-E44B-44DA-BC19-3D6F03BDD63A}"/>
          </ac:spMkLst>
        </pc:spChg>
        <pc:spChg chg="add mod">
          <ac:chgData name="Nam Tran" userId="4aee0b4974c0eb7e" providerId="LiveId" clId="{D82195CA-335C-41A3-B437-0AD3C755EB07}" dt="2019-06-04T15:02:32.248" v="2146" actId="14100"/>
          <ac:spMkLst>
            <pc:docMk/>
            <pc:sldMk cId="1694263157" sldId="339"/>
            <ac:spMk id="3" creationId="{8A94161F-92D5-4B8F-B00E-BE5796E53548}"/>
          </ac:spMkLst>
        </pc:spChg>
        <pc:spChg chg="add">
          <ac:chgData name="Nam Tran" userId="4aee0b4974c0eb7e" providerId="LiveId" clId="{D82195CA-335C-41A3-B437-0AD3C755EB07}" dt="2019-06-04T13:54:50.397" v="1224" actId="26606"/>
          <ac:spMkLst>
            <pc:docMk/>
            <pc:sldMk cId="1694263157" sldId="339"/>
            <ac:spMk id="15" creationId="{9228552E-C8B1-4A80-8448-0787CE0FC704}"/>
          </ac:spMkLst>
        </pc:spChg>
      </pc:sldChg>
      <pc:sldChg chg="addSp delSp modSp add">
        <pc:chgData name="Nam Tran" userId="4aee0b4974c0eb7e" providerId="LiveId" clId="{D82195CA-335C-41A3-B437-0AD3C755EB07}" dt="2019-06-04T16:05:04.892" v="2397" actId="14100"/>
        <pc:sldMkLst>
          <pc:docMk/>
          <pc:sldMk cId="2074451097" sldId="340"/>
        </pc:sldMkLst>
        <pc:spChg chg="add del mod">
          <ac:chgData name="Nam Tran" userId="4aee0b4974c0eb7e" providerId="LiveId" clId="{D82195CA-335C-41A3-B437-0AD3C755EB07}" dt="2019-06-04T16:04:31.322" v="2394" actId="478"/>
          <ac:spMkLst>
            <pc:docMk/>
            <pc:sldMk cId="2074451097" sldId="340"/>
            <ac:spMk id="2" creationId="{EEB8EF29-9476-47B9-8CAE-D93CF541AC38}"/>
          </ac:spMkLst>
        </pc:spChg>
        <pc:graphicFrameChg chg="add mod">
          <ac:chgData name="Nam Tran" userId="4aee0b4974c0eb7e" providerId="LiveId" clId="{D82195CA-335C-41A3-B437-0AD3C755EB07}" dt="2019-06-04T16:05:04.892" v="2397" actId="14100"/>
          <ac:graphicFrameMkLst>
            <pc:docMk/>
            <pc:sldMk cId="2074451097" sldId="340"/>
            <ac:graphicFrameMk id="3" creationId="{E33F3172-424F-47AD-882D-5F61687FA7A6}"/>
          </ac:graphicFrameMkLst>
        </pc:graphicFrameChg>
        <pc:picChg chg="del">
          <ac:chgData name="Nam Tran" userId="4aee0b4974c0eb7e" providerId="LiveId" clId="{D82195CA-335C-41A3-B437-0AD3C755EB07}" dt="2019-06-04T13:53:49.738" v="1220" actId="478"/>
          <ac:picMkLst>
            <pc:docMk/>
            <pc:sldMk cId="2074451097" sldId="340"/>
            <ac:picMk id="10" creationId="{DDB1443C-21F7-44CE-B11A-CB709F8ACB81}"/>
          </ac:picMkLst>
        </pc:picChg>
      </pc:sldChg>
      <pc:sldChg chg="add del">
        <pc:chgData name="Nam Tran" userId="4aee0b4974c0eb7e" providerId="LiveId" clId="{D82195CA-335C-41A3-B437-0AD3C755EB07}" dt="2019-06-04T14:03:55.941" v="1310" actId="2696"/>
        <pc:sldMkLst>
          <pc:docMk/>
          <pc:sldMk cId="3599363473" sldId="341"/>
        </pc:sldMkLst>
      </pc:sldChg>
      <pc:sldChg chg="addSp delSp modSp">
        <pc:chgData name="Nam Tran" userId="4aee0b4974c0eb7e" providerId="LiveId" clId="{D82195CA-335C-41A3-B437-0AD3C755EB07}" dt="2019-06-04T16:02:33.959" v="2374" actId="20577"/>
        <pc:sldMkLst>
          <pc:docMk/>
          <pc:sldMk cId="963254495" sldId="342"/>
        </pc:sldMkLst>
        <pc:spChg chg="mod">
          <ac:chgData name="Nam Tran" userId="4aee0b4974c0eb7e" providerId="LiveId" clId="{D82195CA-335C-41A3-B437-0AD3C755EB07}" dt="2019-06-04T16:02:33.959" v="2374" actId="20577"/>
          <ac:spMkLst>
            <pc:docMk/>
            <pc:sldMk cId="963254495" sldId="342"/>
            <ac:spMk id="2" creationId="{FD2D4BF7-E44B-44DA-BC19-3D6F03BDD63A}"/>
          </ac:spMkLst>
        </pc:spChg>
        <pc:spChg chg="del mod">
          <ac:chgData name="Nam Tran" userId="4aee0b4974c0eb7e" providerId="LiveId" clId="{D82195CA-335C-41A3-B437-0AD3C755EB07}" dt="2019-06-04T14:11:03.508" v="1563" actId="478"/>
          <ac:spMkLst>
            <pc:docMk/>
            <pc:sldMk cId="963254495" sldId="342"/>
            <ac:spMk id="3" creationId="{8A94161F-92D5-4B8F-B00E-BE5796E53548}"/>
          </ac:spMkLst>
        </pc:spChg>
        <pc:spChg chg="add del mod">
          <ac:chgData name="Nam Tran" userId="4aee0b4974c0eb7e" providerId="LiveId" clId="{D82195CA-335C-41A3-B437-0AD3C755EB07}" dt="2019-06-04T14:11:05.654" v="1564" actId="478"/>
          <ac:spMkLst>
            <pc:docMk/>
            <pc:sldMk cId="963254495" sldId="342"/>
            <ac:spMk id="5" creationId="{F243FA4B-6E15-4570-AFD1-3072AF001CC5}"/>
          </ac:spMkLst>
        </pc:spChg>
        <pc:spChg chg="add mod">
          <ac:chgData name="Nam Tran" userId="4aee0b4974c0eb7e" providerId="LiveId" clId="{D82195CA-335C-41A3-B437-0AD3C755EB07}" dt="2019-06-04T14:28:37.463" v="1829" actId="1076"/>
          <ac:spMkLst>
            <pc:docMk/>
            <pc:sldMk cId="963254495" sldId="342"/>
            <ac:spMk id="8" creationId="{BCA9B44A-5367-4CB1-8713-E3A429FD4522}"/>
          </ac:spMkLst>
        </pc:spChg>
        <pc:spChg chg="add mod">
          <ac:chgData name="Nam Tran" userId="4aee0b4974c0eb7e" providerId="LiveId" clId="{D82195CA-335C-41A3-B437-0AD3C755EB07}" dt="2019-06-04T14:29:27.558" v="1842" actId="5793"/>
          <ac:spMkLst>
            <pc:docMk/>
            <pc:sldMk cId="963254495" sldId="342"/>
            <ac:spMk id="9" creationId="{056F370B-B68F-4C2C-A31A-7043566F076F}"/>
          </ac:spMkLst>
        </pc:spChg>
        <pc:picChg chg="add del mod">
          <ac:chgData name="Nam Tran" userId="4aee0b4974c0eb7e" providerId="LiveId" clId="{D82195CA-335C-41A3-B437-0AD3C755EB07}" dt="2019-06-04T14:11:45.238" v="1569" actId="478"/>
          <ac:picMkLst>
            <pc:docMk/>
            <pc:sldMk cId="963254495" sldId="342"/>
            <ac:picMk id="6" creationId="{4DB02058-EB1D-4A9A-A957-AFD60F40A16A}"/>
          </ac:picMkLst>
        </pc:picChg>
        <pc:picChg chg="add mod">
          <ac:chgData name="Nam Tran" userId="4aee0b4974c0eb7e" providerId="LiveId" clId="{D82195CA-335C-41A3-B437-0AD3C755EB07}" dt="2019-06-04T15:54:30.478" v="2302" actId="1038"/>
          <ac:picMkLst>
            <pc:docMk/>
            <pc:sldMk cId="963254495" sldId="342"/>
            <ac:picMk id="7" creationId="{69388C24-A130-4664-B482-57643DD07886}"/>
          </ac:picMkLst>
        </pc:picChg>
        <pc:picChg chg="mod">
          <ac:chgData name="Nam Tran" userId="4aee0b4974c0eb7e" providerId="LiveId" clId="{D82195CA-335C-41A3-B437-0AD3C755EB07}" dt="2019-06-04T14:29:18.858" v="1837" actId="1076"/>
          <ac:picMkLst>
            <pc:docMk/>
            <pc:sldMk cId="963254495" sldId="342"/>
            <ac:picMk id="10" creationId="{DDB1443C-21F7-44CE-B11A-CB709F8ACB81}"/>
          </ac:picMkLst>
        </pc:picChg>
      </pc:sldChg>
      <pc:sldChg chg="addSp delSp add del setBg delDesignElem">
        <pc:chgData name="Nam Tran" userId="4aee0b4974c0eb7e" providerId="LiveId" clId="{D82195CA-335C-41A3-B437-0AD3C755EB07}" dt="2019-06-04T14:00:17.624" v="1260"/>
        <pc:sldMkLst>
          <pc:docMk/>
          <pc:sldMk cId="3516591912" sldId="342"/>
        </pc:sldMkLst>
        <pc:spChg chg="add del">
          <ac:chgData name="Nam Tran" userId="4aee0b4974c0eb7e" providerId="LiveId" clId="{D82195CA-335C-41A3-B437-0AD3C755EB07}" dt="2019-06-04T14:00:17.624" v="1260"/>
          <ac:spMkLst>
            <pc:docMk/>
            <pc:sldMk cId="3516591912" sldId="342"/>
            <ac:spMk id="15" creationId="{9228552E-C8B1-4A80-8448-0787CE0FC704}"/>
          </ac:spMkLst>
        </pc:spChg>
      </pc:sldChg>
      <pc:sldChg chg="modSp del ord">
        <pc:chgData name="Nam Tran" userId="4aee0b4974c0eb7e" providerId="LiveId" clId="{D82195CA-335C-41A3-B437-0AD3C755EB07}" dt="2019-06-04T16:04:15.669" v="2393" actId="2696"/>
        <pc:sldMkLst>
          <pc:docMk/>
          <pc:sldMk cId="241832186" sldId="343"/>
        </pc:sldMkLst>
        <pc:spChg chg="mod">
          <ac:chgData name="Nam Tran" userId="4aee0b4974c0eb7e" providerId="LiveId" clId="{D82195CA-335C-41A3-B437-0AD3C755EB07}" dt="2019-06-04T16:03:23.197" v="2380"/>
          <ac:spMkLst>
            <pc:docMk/>
            <pc:sldMk cId="241832186" sldId="343"/>
            <ac:spMk id="2" creationId="{FD2D4BF7-E44B-44DA-BC19-3D6F03BDD63A}"/>
          </ac:spMkLst>
        </pc:spChg>
        <pc:spChg chg="mod">
          <ac:chgData name="Nam Tran" userId="4aee0b4974c0eb7e" providerId="LiveId" clId="{D82195CA-335C-41A3-B437-0AD3C755EB07}" dt="2019-06-04T16:03:45.989" v="2383"/>
          <ac:spMkLst>
            <pc:docMk/>
            <pc:sldMk cId="241832186" sldId="343"/>
            <ac:spMk id="3" creationId="{8A94161F-92D5-4B8F-B00E-BE5796E53548}"/>
          </ac:spMkLst>
        </pc:spChg>
        <pc:picChg chg="mod">
          <ac:chgData name="Nam Tran" userId="4aee0b4974c0eb7e" providerId="LiveId" clId="{D82195CA-335C-41A3-B437-0AD3C755EB07}" dt="2019-06-04T16:03:21.042" v="2379" actId="1076"/>
          <ac:picMkLst>
            <pc:docMk/>
            <pc:sldMk cId="241832186" sldId="343"/>
            <ac:picMk id="10" creationId="{DDB1443C-21F7-44CE-B11A-CB709F8ACB81}"/>
          </ac:picMkLst>
        </pc:picChg>
      </pc:sldChg>
      <pc:sldChg chg="modSp">
        <pc:chgData name="Nam Tran" userId="4aee0b4974c0eb7e" providerId="LiveId" clId="{D82195CA-335C-41A3-B437-0AD3C755EB07}" dt="2019-06-04T14:37:05.724" v="1938" actId="20577"/>
        <pc:sldMkLst>
          <pc:docMk/>
          <pc:sldMk cId="2474802246" sldId="344"/>
        </pc:sldMkLst>
        <pc:spChg chg="mod">
          <ac:chgData name="Nam Tran" userId="4aee0b4974c0eb7e" providerId="LiveId" clId="{D82195CA-335C-41A3-B437-0AD3C755EB07}" dt="2019-06-04T14:28:12.216" v="1826" actId="20577"/>
          <ac:spMkLst>
            <pc:docMk/>
            <pc:sldMk cId="2474802246" sldId="344"/>
            <ac:spMk id="2" creationId="{FD2D4BF7-E44B-44DA-BC19-3D6F03BDD63A}"/>
          </ac:spMkLst>
        </pc:spChg>
        <pc:spChg chg="mod">
          <ac:chgData name="Nam Tran" userId="4aee0b4974c0eb7e" providerId="LiveId" clId="{D82195CA-335C-41A3-B437-0AD3C755EB07}" dt="2019-06-04T14:37:05.724" v="1938" actId="20577"/>
          <ac:spMkLst>
            <pc:docMk/>
            <pc:sldMk cId="2474802246" sldId="344"/>
            <ac:spMk id="3" creationId="{8A94161F-92D5-4B8F-B00E-BE5796E53548}"/>
          </ac:spMkLst>
        </pc:spChg>
      </pc:sldChg>
      <pc:sldChg chg="addSp delSp modSp mod setClrOvrMap">
        <pc:chgData name="Nam Tran" userId="4aee0b4974c0eb7e" providerId="LiveId" clId="{D82195CA-335C-41A3-B437-0AD3C755EB07}" dt="2019-06-04T15:30:10.875" v="2269"/>
        <pc:sldMkLst>
          <pc:docMk/>
          <pc:sldMk cId="3185046467" sldId="345"/>
        </pc:sldMkLst>
        <pc:spChg chg="mod">
          <ac:chgData name="Nam Tran" userId="4aee0b4974c0eb7e" providerId="LiveId" clId="{D82195CA-335C-41A3-B437-0AD3C755EB07}" dt="2019-06-04T15:29:02.214" v="2263" actId="2711"/>
          <ac:spMkLst>
            <pc:docMk/>
            <pc:sldMk cId="3185046467" sldId="345"/>
            <ac:spMk id="2" creationId="{FD2D4BF7-E44B-44DA-BC19-3D6F03BDD63A}"/>
          </ac:spMkLst>
        </pc:spChg>
        <pc:spChg chg="del">
          <ac:chgData name="Nam Tran" userId="4aee0b4974c0eb7e" providerId="LiveId" clId="{D82195CA-335C-41A3-B437-0AD3C755EB07}" dt="2019-06-04T14:44:41.248" v="1978" actId="478"/>
          <ac:spMkLst>
            <pc:docMk/>
            <pc:sldMk cId="3185046467" sldId="345"/>
            <ac:spMk id="3" creationId="{8A94161F-92D5-4B8F-B00E-BE5796E53548}"/>
          </ac:spMkLst>
        </pc:spChg>
        <pc:spChg chg="add del mod">
          <ac:chgData name="Nam Tran" userId="4aee0b4974c0eb7e" providerId="LiveId" clId="{D82195CA-335C-41A3-B437-0AD3C755EB07}" dt="2019-06-04T14:44:43.932" v="1979" actId="478"/>
          <ac:spMkLst>
            <pc:docMk/>
            <pc:sldMk cId="3185046467" sldId="345"/>
            <ac:spMk id="5" creationId="{40BDAC91-A48F-4374-B552-B679407E5F32}"/>
          </ac:spMkLst>
        </pc:spChg>
        <pc:spChg chg="add del mod">
          <ac:chgData name="Nam Tran" userId="4aee0b4974c0eb7e" providerId="LiveId" clId="{D82195CA-335C-41A3-B437-0AD3C755EB07}" dt="2019-06-04T15:30:10.875" v="2269"/>
          <ac:spMkLst>
            <pc:docMk/>
            <pc:sldMk cId="3185046467" sldId="345"/>
            <ac:spMk id="12" creationId="{79DFC5F7-5EBB-4617-8161-7950C49D3C76}"/>
          </ac:spMkLst>
        </pc:spChg>
        <pc:spChg chg="add del mod">
          <ac:chgData name="Nam Tran" userId="4aee0b4974c0eb7e" providerId="LiveId" clId="{D82195CA-335C-41A3-B437-0AD3C755EB07}" dt="2019-06-04T15:29:02.214" v="2263" actId="2711"/>
          <ac:spMkLst>
            <pc:docMk/>
            <pc:sldMk cId="3185046467" sldId="345"/>
            <ac:spMk id="15" creationId="{9228552E-C8B1-4A80-8448-0787CE0FC704}"/>
          </ac:spMkLst>
        </pc:spChg>
        <pc:spChg chg="add del">
          <ac:chgData name="Nam Tran" userId="4aee0b4974c0eb7e" providerId="LiveId" clId="{D82195CA-335C-41A3-B437-0AD3C755EB07}" dt="2019-06-04T14:54:00.705" v="1986" actId="26606"/>
          <ac:spMkLst>
            <pc:docMk/>
            <pc:sldMk cId="3185046467" sldId="345"/>
            <ac:spMk id="20" creationId="{823AC064-BC96-4F32-8AE1-B2FD38754823}"/>
          </ac:spMkLst>
        </pc:spChg>
        <pc:graphicFrameChg chg="add del">
          <ac:chgData name="Nam Tran" userId="4aee0b4974c0eb7e" providerId="LiveId" clId="{D82195CA-335C-41A3-B437-0AD3C755EB07}" dt="2019-06-04T14:54:31.758" v="1989"/>
          <ac:graphicFrameMkLst>
            <pc:docMk/>
            <pc:sldMk cId="3185046467" sldId="345"/>
            <ac:graphicFrameMk id="7" creationId="{F00D6898-EC7E-4653-B485-2803B9F150A4}"/>
          </ac:graphicFrameMkLst>
        </pc:graphicFrameChg>
        <pc:graphicFrameChg chg="add del">
          <ac:chgData name="Nam Tran" userId="4aee0b4974c0eb7e" providerId="LiveId" clId="{D82195CA-335C-41A3-B437-0AD3C755EB07}" dt="2019-06-04T14:55:11.942" v="1991"/>
          <ac:graphicFrameMkLst>
            <pc:docMk/>
            <pc:sldMk cId="3185046467" sldId="345"/>
            <ac:graphicFrameMk id="8" creationId="{D13753CE-459B-4174-B8E3-03C1560C86BE}"/>
          </ac:graphicFrameMkLst>
        </pc:graphicFrameChg>
        <pc:graphicFrameChg chg="add del mod modGraphic">
          <ac:chgData name="Nam Tran" userId="4aee0b4974c0eb7e" providerId="LiveId" clId="{D82195CA-335C-41A3-B437-0AD3C755EB07}" dt="2019-06-04T14:55:32.476" v="2001"/>
          <ac:graphicFrameMkLst>
            <pc:docMk/>
            <pc:sldMk cId="3185046467" sldId="345"/>
            <ac:graphicFrameMk id="9" creationId="{7AACB80E-741D-49FD-8387-2D80F107D835}"/>
          </ac:graphicFrameMkLst>
        </pc:graphicFrameChg>
        <pc:graphicFrameChg chg="add mod modGraphic">
          <ac:chgData name="Nam Tran" userId="4aee0b4974c0eb7e" providerId="LiveId" clId="{D82195CA-335C-41A3-B437-0AD3C755EB07}" dt="2019-06-04T15:29:53.722" v="2266" actId="1076"/>
          <ac:graphicFrameMkLst>
            <pc:docMk/>
            <pc:sldMk cId="3185046467" sldId="345"/>
            <ac:graphicFrameMk id="11" creationId="{B4FAD155-9C6E-470D-94C6-A0D985F5E597}"/>
          </ac:graphicFrameMkLst>
        </pc:graphicFrameChg>
        <pc:picChg chg="add del mod">
          <ac:chgData name="Nam Tran" userId="4aee0b4974c0eb7e" providerId="LiveId" clId="{D82195CA-335C-41A3-B437-0AD3C755EB07}" dt="2019-06-04T14:54:02.205" v="1987"/>
          <ac:picMkLst>
            <pc:docMk/>
            <pc:sldMk cId="3185046467" sldId="345"/>
            <ac:picMk id="6" creationId="{87541BBF-3787-425B-B810-4D63F2B09E4D}"/>
          </ac:picMkLst>
        </pc:picChg>
        <pc:picChg chg="mod ord">
          <ac:chgData name="Nam Tran" userId="4aee0b4974c0eb7e" providerId="LiveId" clId="{D82195CA-335C-41A3-B437-0AD3C755EB07}" dt="2019-06-04T14:54:00.705" v="1986" actId="26606"/>
          <ac:picMkLst>
            <pc:docMk/>
            <pc:sldMk cId="3185046467" sldId="345"/>
            <ac:picMk id="10" creationId="{DDB1443C-21F7-44CE-B11A-CB709F8ACB81}"/>
          </ac:picMkLst>
        </pc:picChg>
        <pc:cxnChg chg="add del">
          <ac:chgData name="Nam Tran" userId="4aee0b4974c0eb7e" providerId="LiveId" clId="{D82195CA-335C-41A3-B437-0AD3C755EB07}" dt="2019-06-04T14:54:00.705" v="1986" actId="26606"/>
          <ac:cxnSpMkLst>
            <pc:docMk/>
            <pc:sldMk cId="3185046467" sldId="345"/>
            <ac:cxnSpMk id="22" creationId="{7E7C77BC-7138-40B1-A15B-20F57A494629}"/>
          </ac:cxnSpMkLst>
        </pc:cxnChg>
        <pc:cxnChg chg="add del">
          <ac:chgData name="Nam Tran" userId="4aee0b4974c0eb7e" providerId="LiveId" clId="{D82195CA-335C-41A3-B437-0AD3C755EB07}" dt="2019-06-04T14:54:00.705" v="1986" actId="26606"/>
          <ac:cxnSpMkLst>
            <pc:docMk/>
            <pc:sldMk cId="3185046467" sldId="345"/>
            <ac:cxnSpMk id="24" creationId="{DB146403-F3D6-484B-B2ED-97F9565D0370}"/>
          </ac:cxnSpMkLst>
        </pc:cxnChg>
      </pc:sldChg>
      <pc:sldChg chg="addSp delSp modSp">
        <pc:chgData name="Nam Tran" userId="4aee0b4974c0eb7e" providerId="LiveId" clId="{D82195CA-335C-41A3-B437-0AD3C755EB07}" dt="2019-06-04T15:30:42.726" v="2282" actId="20577"/>
        <pc:sldMkLst>
          <pc:docMk/>
          <pc:sldMk cId="1600345505" sldId="346"/>
        </pc:sldMkLst>
        <pc:spChg chg="mod">
          <ac:chgData name="Nam Tran" userId="4aee0b4974c0eb7e" providerId="LiveId" clId="{D82195CA-335C-41A3-B437-0AD3C755EB07}" dt="2019-06-04T15:14:00.664" v="2164" actId="1076"/>
          <ac:spMkLst>
            <pc:docMk/>
            <pc:sldMk cId="1600345505" sldId="346"/>
            <ac:spMk id="12" creationId="{79DFC5F7-5EBB-4617-8161-7950C49D3C76}"/>
          </ac:spMkLst>
        </pc:spChg>
        <pc:graphicFrameChg chg="add mod modGraphic">
          <ac:chgData name="Nam Tran" userId="4aee0b4974c0eb7e" providerId="LiveId" clId="{D82195CA-335C-41A3-B437-0AD3C755EB07}" dt="2019-06-04T15:30:42.726" v="2282" actId="20577"/>
          <ac:graphicFrameMkLst>
            <pc:docMk/>
            <pc:sldMk cId="1600345505" sldId="346"/>
            <ac:graphicFrameMk id="3" creationId="{8AAA0D5D-3BCC-4D1C-8C50-E34D95C01E3C}"/>
          </ac:graphicFrameMkLst>
        </pc:graphicFrameChg>
        <pc:graphicFrameChg chg="add del">
          <ac:chgData name="Nam Tran" userId="4aee0b4974c0eb7e" providerId="LiveId" clId="{D82195CA-335C-41A3-B437-0AD3C755EB07}" dt="2019-06-04T15:14:14.435" v="2167"/>
          <ac:graphicFrameMkLst>
            <pc:docMk/>
            <pc:sldMk cId="1600345505" sldId="346"/>
            <ac:graphicFrameMk id="4" creationId="{265D2221-DEB0-4907-BB14-197F04528BF9}"/>
          </ac:graphicFrameMkLst>
        </pc:graphicFrameChg>
        <pc:graphicFrameChg chg="del">
          <ac:chgData name="Nam Tran" userId="4aee0b4974c0eb7e" providerId="LiveId" clId="{D82195CA-335C-41A3-B437-0AD3C755EB07}" dt="2019-06-04T15:12:58.001" v="2147" actId="478"/>
          <ac:graphicFrameMkLst>
            <pc:docMk/>
            <pc:sldMk cId="1600345505" sldId="346"/>
            <ac:graphicFrameMk id="11" creationId="{B4FAD155-9C6E-470D-94C6-A0D985F5E597}"/>
          </ac:graphicFrameMkLst>
        </pc:graphicFrameChg>
      </pc:sldChg>
      <pc:sldChg chg="addSp del delDesignElem">
        <pc:chgData name="Nam Tran" userId="4aee0b4974c0eb7e" providerId="LiveId" clId="{D82195CA-335C-41A3-B437-0AD3C755EB07}" dt="2019-06-04T15:14:25.464" v="2172"/>
        <pc:sldMkLst>
          <pc:docMk/>
          <pc:sldMk cId="1653991683" sldId="347"/>
        </pc:sldMkLst>
        <pc:spChg chg="add">
          <ac:chgData name="Nam Tran" userId="4aee0b4974c0eb7e" providerId="LiveId" clId="{D82195CA-335C-41A3-B437-0AD3C755EB07}" dt="2019-06-04T15:14:25.464" v="2172"/>
          <ac:spMkLst>
            <pc:docMk/>
            <pc:sldMk cId="1653991683" sldId="347"/>
            <ac:spMk id="15" creationId="{9228552E-C8B1-4A80-8448-0787CE0FC704}"/>
          </ac:spMkLst>
        </pc:spChg>
      </pc:sldChg>
      <pc:sldChg chg="addSp delSp add del setBg delDesignElem">
        <pc:chgData name="Nam Tran" userId="4aee0b4974c0eb7e" providerId="LiveId" clId="{D82195CA-335C-41A3-B437-0AD3C755EB07}" dt="2019-06-04T15:14:21.501" v="2170"/>
        <pc:sldMkLst>
          <pc:docMk/>
          <pc:sldMk cId="3543608155" sldId="347"/>
        </pc:sldMkLst>
        <pc:spChg chg="add del">
          <ac:chgData name="Nam Tran" userId="4aee0b4974c0eb7e" providerId="LiveId" clId="{D82195CA-335C-41A3-B437-0AD3C755EB07}" dt="2019-06-04T15:14:21.501" v="2170"/>
          <ac:spMkLst>
            <pc:docMk/>
            <pc:sldMk cId="3543608155" sldId="347"/>
            <ac:spMk id="15" creationId="{9228552E-C8B1-4A80-8448-0787CE0FC704}"/>
          </ac:spMkLst>
        </pc:spChg>
      </pc:sldChg>
      <pc:sldChg chg="addSp delSp modSp">
        <pc:chgData name="Nam Tran" userId="4aee0b4974c0eb7e" providerId="LiveId" clId="{D82195CA-335C-41A3-B437-0AD3C755EB07}" dt="2019-06-04T15:31:14.031" v="2288" actId="1076"/>
        <pc:sldMkLst>
          <pc:docMk/>
          <pc:sldMk cId="3633961434" sldId="347"/>
        </pc:sldMkLst>
        <pc:graphicFrameChg chg="add del">
          <ac:chgData name="Nam Tran" userId="4aee0b4974c0eb7e" providerId="LiveId" clId="{D82195CA-335C-41A3-B437-0AD3C755EB07}" dt="2019-06-04T15:15:05.652" v="2175"/>
          <ac:graphicFrameMkLst>
            <pc:docMk/>
            <pc:sldMk cId="3633961434" sldId="347"/>
            <ac:graphicFrameMk id="3" creationId="{D502B34F-85F9-45B0-A78C-AA540939697D}"/>
          </ac:graphicFrameMkLst>
        </pc:graphicFrameChg>
        <pc:graphicFrameChg chg="add mod modGraphic">
          <ac:chgData name="Nam Tran" userId="4aee0b4974c0eb7e" providerId="LiveId" clId="{D82195CA-335C-41A3-B437-0AD3C755EB07}" dt="2019-06-04T15:31:14.031" v="2288" actId="1076"/>
          <ac:graphicFrameMkLst>
            <pc:docMk/>
            <pc:sldMk cId="3633961434" sldId="347"/>
            <ac:graphicFrameMk id="4" creationId="{5817D1D4-02DC-42D2-9D2B-AA734707A8ED}"/>
          </ac:graphicFrameMkLst>
        </pc:graphicFrameChg>
        <pc:graphicFrameChg chg="add del">
          <ac:chgData name="Nam Tran" userId="4aee0b4974c0eb7e" providerId="LiveId" clId="{D82195CA-335C-41A3-B437-0AD3C755EB07}" dt="2019-06-04T15:17:24.412" v="2196"/>
          <ac:graphicFrameMkLst>
            <pc:docMk/>
            <pc:sldMk cId="3633961434" sldId="347"/>
            <ac:graphicFrameMk id="5" creationId="{28A5AAC3-55AF-4057-818A-1333FD510B80}"/>
          </ac:graphicFrameMkLst>
        </pc:graphicFrameChg>
        <pc:graphicFrameChg chg="del">
          <ac:chgData name="Nam Tran" userId="4aee0b4974c0eb7e" providerId="LiveId" clId="{D82195CA-335C-41A3-B437-0AD3C755EB07}" dt="2019-06-04T15:14:48.820" v="2173" actId="478"/>
          <ac:graphicFrameMkLst>
            <pc:docMk/>
            <pc:sldMk cId="3633961434" sldId="347"/>
            <ac:graphicFrameMk id="11" creationId="{B4FAD155-9C6E-470D-94C6-A0D985F5E597}"/>
          </ac:graphicFrameMkLst>
        </pc:graphicFrameChg>
      </pc:sldChg>
      <pc:sldChg chg="addSp delSp modSp">
        <pc:chgData name="Nam Tran" userId="4aee0b4974c0eb7e" providerId="LiveId" clId="{D82195CA-335C-41A3-B437-0AD3C755EB07}" dt="2019-06-04T15:54:12.264" v="2299" actId="1076"/>
        <pc:sldMkLst>
          <pc:docMk/>
          <pc:sldMk cId="1055781354" sldId="348"/>
        </pc:sldMkLst>
        <pc:graphicFrameChg chg="add mod modGraphic">
          <ac:chgData name="Nam Tran" userId="4aee0b4974c0eb7e" providerId="LiveId" clId="{D82195CA-335C-41A3-B437-0AD3C755EB07}" dt="2019-06-04T15:54:12.264" v="2299" actId="1076"/>
          <ac:graphicFrameMkLst>
            <pc:docMk/>
            <pc:sldMk cId="1055781354" sldId="348"/>
            <ac:graphicFrameMk id="3" creationId="{74FB66F9-FBB2-4B40-A348-4FD9A198333C}"/>
          </ac:graphicFrameMkLst>
        </pc:graphicFrameChg>
        <pc:graphicFrameChg chg="del">
          <ac:chgData name="Nam Tran" userId="4aee0b4974c0eb7e" providerId="LiveId" clId="{D82195CA-335C-41A3-B437-0AD3C755EB07}" dt="2019-06-04T15:52:57.480" v="2289" actId="478"/>
          <ac:graphicFrameMkLst>
            <pc:docMk/>
            <pc:sldMk cId="1055781354" sldId="348"/>
            <ac:graphicFrameMk id="4" creationId="{5817D1D4-02DC-42D2-9D2B-AA734707A8ED}"/>
          </ac:graphicFrameMkLst>
        </pc:graphicFrameChg>
      </pc:sldChg>
      <pc:sldChg chg="addSp delSp modSp add modNotesTx">
        <pc:chgData name="Nam Tran" userId="4aee0b4974c0eb7e" providerId="LiveId" clId="{D82195CA-335C-41A3-B437-0AD3C755EB07}" dt="2019-06-04T16:08:48.596" v="2543" actId="20577"/>
        <pc:sldMkLst>
          <pc:docMk/>
          <pc:sldMk cId="2756652915" sldId="349"/>
        </pc:sldMkLst>
        <pc:spChg chg="del mod">
          <ac:chgData name="Nam Tran" userId="4aee0b4974c0eb7e" providerId="LiveId" clId="{D82195CA-335C-41A3-B437-0AD3C755EB07}" dt="2019-06-04T16:01:00.950" v="2362" actId="478"/>
          <ac:spMkLst>
            <pc:docMk/>
            <pc:sldMk cId="2756652915" sldId="349"/>
            <ac:spMk id="2" creationId="{BD3D37A5-D119-4732-8DD6-359BA266C818}"/>
          </ac:spMkLst>
        </pc:spChg>
        <pc:spChg chg="add del">
          <ac:chgData name="Nam Tran" userId="4aee0b4974c0eb7e" providerId="LiveId" clId="{D82195CA-335C-41A3-B437-0AD3C755EB07}" dt="2019-06-04T16:00:41.673" v="2358"/>
          <ac:spMkLst>
            <pc:docMk/>
            <pc:sldMk cId="2756652915" sldId="349"/>
            <ac:spMk id="3" creationId="{6ABC69F3-D6C1-4B73-BC7F-CF4ECB2FBE62}"/>
          </ac:spMkLst>
        </pc:spChg>
        <pc:graphicFrameChg chg="add del mod">
          <ac:chgData name="Nam Tran" userId="4aee0b4974c0eb7e" providerId="LiveId" clId="{D82195CA-335C-41A3-B437-0AD3C755EB07}" dt="2019-06-04T16:00:22.366" v="2349"/>
          <ac:graphicFrameMkLst>
            <pc:docMk/>
            <pc:sldMk cId="2756652915" sldId="349"/>
            <ac:graphicFrameMk id="4" creationId="{F484F5A1-2CB7-4B08-B1E9-1D43160C7E6D}"/>
          </ac:graphicFrameMkLst>
        </pc:graphicFrameChg>
        <pc:graphicFrameChg chg="add del mod modGraphic">
          <ac:chgData name="Nam Tran" userId="4aee0b4974c0eb7e" providerId="LiveId" clId="{D82195CA-335C-41A3-B437-0AD3C755EB07}" dt="2019-06-04T16:00:34.472" v="2355"/>
          <ac:graphicFrameMkLst>
            <pc:docMk/>
            <pc:sldMk cId="2756652915" sldId="349"/>
            <ac:graphicFrameMk id="5" creationId="{80A8F47E-C7EF-40C2-A495-A278814399F9}"/>
          </ac:graphicFrameMkLst>
        </pc:graphicFrameChg>
        <pc:graphicFrameChg chg="add mod">
          <ac:chgData name="Nam Tran" userId="4aee0b4974c0eb7e" providerId="LiveId" clId="{D82195CA-335C-41A3-B437-0AD3C755EB07}" dt="2019-06-04T16:01:04.168" v="2363" actId="14100"/>
          <ac:graphicFrameMkLst>
            <pc:docMk/>
            <pc:sldMk cId="2756652915" sldId="349"/>
            <ac:graphicFrameMk id="6" creationId="{C328329C-5D7A-4E8A-A8F9-3F599FA4BF10}"/>
          </ac:graphicFrameMkLst>
        </pc:graphicFrameChg>
      </pc:sldChg>
      <pc:sldChg chg="addSp delSp modSp del">
        <pc:chgData name="Nam Tran" userId="4aee0b4974c0eb7e" providerId="LiveId" clId="{D82195CA-335C-41A3-B437-0AD3C755EB07}" dt="2019-06-04T15:59:43.346" v="2321" actId="2696"/>
        <pc:sldMkLst>
          <pc:docMk/>
          <pc:sldMk cId="3820926917" sldId="349"/>
        </pc:sldMkLst>
        <pc:spChg chg="del mod">
          <ac:chgData name="Nam Tran" userId="4aee0b4974c0eb7e" providerId="LiveId" clId="{D82195CA-335C-41A3-B437-0AD3C755EB07}" dt="2019-06-04T15:57:28.347" v="2312" actId="478"/>
          <ac:spMkLst>
            <pc:docMk/>
            <pc:sldMk cId="3820926917" sldId="349"/>
            <ac:spMk id="2" creationId="{FD2D4BF7-E44B-44DA-BC19-3D6F03BDD63A}"/>
          </ac:spMkLst>
        </pc:spChg>
        <pc:spChg chg="add del mod">
          <ac:chgData name="Nam Tran" userId="4aee0b4974c0eb7e" providerId="LiveId" clId="{D82195CA-335C-41A3-B437-0AD3C755EB07}" dt="2019-06-04T15:57:31.612" v="2313" actId="478"/>
          <ac:spMkLst>
            <pc:docMk/>
            <pc:sldMk cId="3820926917" sldId="349"/>
            <ac:spMk id="8" creationId="{C954F218-DE7C-4F85-8AED-44A93620BE0C}"/>
          </ac:spMkLst>
        </pc:spChg>
        <pc:spChg chg="del">
          <ac:chgData name="Nam Tran" userId="4aee0b4974c0eb7e" providerId="LiveId" clId="{D82195CA-335C-41A3-B437-0AD3C755EB07}" dt="2019-06-04T15:56:33.078" v="2305" actId="478"/>
          <ac:spMkLst>
            <pc:docMk/>
            <pc:sldMk cId="3820926917" sldId="349"/>
            <ac:spMk id="12" creationId="{79DFC5F7-5EBB-4617-8161-7950C49D3C76}"/>
          </ac:spMkLst>
        </pc:spChg>
        <pc:graphicFrameChg chg="del">
          <ac:chgData name="Nam Tran" userId="4aee0b4974c0eb7e" providerId="LiveId" clId="{D82195CA-335C-41A3-B437-0AD3C755EB07}" dt="2019-06-04T15:56:29.579" v="2304" actId="478"/>
          <ac:graphicFrameMkLst>
            <pc:docMk/>
            <pc:sldMk cId="3820926917" sldId="349"/>
            <ac:graphicFrameMk id="3" creationId="{74FB66F9-FBB2-4B40-A348-4FD9A198333C}"/>
          </ac:graphicFrameMkLst>
        </pc:graphicFrameChg>
        <pc:graphicFrameChg chg="add del">
          <ac:chgData name="Nam Tran" userId="4aee0b4974c0eb7e" providerId="LiveId" clId="{D82195CA-335C-41A3-B437-0AD3C755EB07}" dt="2019-06-04T15:56:48.904" v="2307"/>
          <ac:graphicFrameMkLst>
            <pc:docMk/>
            <pc:sldMk cId="3820926917" sldId="349"/>
            <ac:graphicFrameMk id="4" creationId="{D76EA180-6A10-4AEB-9BE2-DE2349CC8556}"/>
          </ac:graphicFrameMkLst>
        </pc:graphicFrameChg>
        <pc:graphicFrameChg chg="add del">
          <ac:chgData name="Nam Tran" userId="4aee0b4974c0eb7e" providerId="LiveId" clId="{D82195CA-335C-41A3-B437-0AD3C755EB07}" dt="2019-06-04T15:56:53.607" v="2309"/>
          <ac:graphicFrameMkLst>
            <pc:docMk/>
            <pc:sldMk cId="3820926917" sldId="349"/>
            <ac:graphicFrameMk id="5" creationId="{96F72110-2407-4E48-84F0-222BD6FDE3A1}"/>
          </ac:graphicFrameMkLst>
        </pc:graphicFrameChg>
        <pc:graphicFrameChg chg="add del mod">
          <ac:chgData name="Nam Tran" userId="4aee0b4974c0eb7e" providerId="LiveId" clId="{D82195CA-335C-41A3-B437-0AD3C755EB07}" dt="2019-06-04T15:59:38.685" v="2320" actId="478"/>
          <ac:graphicFrameMkLst>
            <pc:docMk/>
            <pc:sldMk cId="3820926917" sldId="349"/>
            <ac:graphicFrameMk id="6" creationId="{3270EAE6-2271-4226-A963-85C846E870B6}"/>
          </ac:graphicFrameMkLst>
        </pc:graphicFrameChg>
        <pc:picChg chg="del">
          <ac:chgData name="Nam Tran" userId="4aee0b4974c0eb7e" providerId="LiveId" clId="{D82195CA-335C-41A3-B437-0AD3C755EB07}" dt="2019-06-04T15:57:39.610" v="2316" actId="478"/>
          <ac:picMkLst>
            <pc:docMk/>
            <pc:sldMk cId="3820926917" sldId="349"/>
            <ac:picMk id="10" creationId="{DDB1443C-21F7-44CE-B11A-CB709F8ACB81}"/>
          </ac:picMkLst>
        </pc:picChg>
      </pc:sldChg>
      <pc:sldChg chg="addSp delSp modSp add mod setBg">
        <pc:chgData name="Nam Tran" userId="4aee0b4974c0eb7e" providerId="LiveId" clId="{D82195CA-335C-41A3-B437-0AD3C755EB07}" dt="2019-06-04T16:02:00.592" v="2370" actId="20577"/>
        <pc:sldMkLst>
          <pc:docMk/>
          <pc:sldMk cId="2196546535" sldId="350"/>
        </pc:sldMkLst>
        <pc:spChg chg="mod">
          <ac:chgData name="Nam Tran" userId="4aee0b4974c0eb7e" providerId="LiveId" clId="{D82195CA-335C-41A3-B437-0AD3C755EB07}" dt="2019-06-04T16:02:00.592" v="2370" actId="20577"/>
          <ac:spMkLst>
            <pc:docMk/>
            <pc:sldMk cId="2196546535" sldId="350"/>
            <ac:spMk id="2" creationId="{902C31A5-6731-4F0E-90B2-B3B98FCA956D}"/>
          </ac:spMkLst>
        </pc:spChg>
        <pc:spChg chg="del">
          <ac:chgData name="Nam Tran" userId="4aee0b4974c0eb7e" providerId="LiveId" clId="{D82195CA-335C-41A3-B437-0AD3C755EB07}" dt="2019-06-04T16:01:43.252" v="2367" actId="478"/>
          <ac:spMkLst>
            <pc:docMk/>
            <pc:sldMk cId="2196546535" sldId="350"/>
            <ac:spMk id="3" creationId="{E58FC225-1860-471B-AAD4-9C7B0F8951D4}"/>
          </ac:spMkLst>
        </pc:spChg>
        <pc:spChg chg="add">
          <ac:chgData name="Nam Tran" userId="4aee0b4974c0eb7e" providerId="LiveId" clId="{D82195CA-335C-41A3-B437-0AD3C755EB07}" dt="2019-06-04T16:01:44.893" v="2368" actId="26606"/>
          <ac:spMkLst>
            <pc:docMk/>
            <pc:sldMk cId="2196546535" sldId="350"/>
            <ac:spMk id="7" creationId="{23962611-DFD5-4092-AAFD-559E3DFCE2C9}"/>
          </ac:spMkLst>
        </pc:spChg>
        <pc:picChg chg="add">
          <ac:chgData name="Nam Tran" userId="4aee0b4974c0eb7e" providerId="LiveId" clId="{D82195CA-335C-41A3-B437-0AD3C755EB07}" dt="2019-06-04T16:01:44.893" v="2368" actId="26606"/>
          <ac:picMkLst>
            <pc:docMk/>
            <pc:sldMk cId="2196546535" sldId="350"/>
            <ac:picMk id="9" creationId="{2270F1FA-0425-408F-9861-80BF5AFB276D}"/>
          </ac:picMkLst>
        </pc:picChg>
      </pc:sldChg>
      <pc:sldChg chg="addSp delSp modSp">
        <pc:chgData name="Nam Tran" userId="4aee0b4974c0eb7e" providerId="LiveId" clId="{D82195CA-335C-41A3-B437-0AD3C755EB07}" dt="2019-06-04T16:04:12.826" v="2392" actId="207"/>
        <pc:sldMkLst>
          <pc:docMk/>
          <pc:sldMk cId="327325168" sldId="351"/>
        </pc:sldMkLst>
        <pc:spChg chg="mod">
          <ac:chgData name="Nam Tran" userId="4aee0b4974c0eb7e" providerId="LiveId" clId="{D82195CA-335C-41A3-B437-0AD3C755EB07}" dt="2019-06-04T16:03:56.970" v="2388" actId="27636"/>
          <ac:spMkLst>
            <pc:docMk/>
            <pc:sldMk cId="327325168" sldId="351"/>
            <ac:spMk id="2" creationId="{902C31A5-6731-4F0E-90B2-B3B98FCA956D}"/>
          </ac:spMkLst>
        </pc:spChg>
        <pc:spChg chg="add mod">
          <ac:chgData name="Nam Tran" userId="4aee0b4974c0eb7e" providerId="LiveId" clId="{D82195CA-335C-41A3-B437-0AD3C755EB07}" dt="2019-06-04T16:04:12.826" v="2392" actId="207"/>
          <ac:spMkLst>
            <pc:docMk/>
            <pc:sldMk cId="327325168" sldId="351"/>
            <ac:spMk id="3" creationId="{7269A803-7615-49BC-B089-A39DE444AA9A}"/>
          </ac:spMkLst>
        </pc:spChg>
        <pc:spChg chg="del">
          <ac:chgData name="Nam Tran" userId="4aee0b4974c0eb7e" providerId="LiveId" clId="{D82195CA-335C-41A3-B437-0AD3C755EB07}" dt="2019-06-04T16:03:40.178" v="2382" actId="26606"/>
          <ac:spMkLst>
            <pc:docMk/>
            <pc:sldMk cId="327325168" sldId="351"/>
            <ac:spMk id="7" creationId="{23962611-DFD5-4092-AAFD-559E3DFCE2C9}"/>
          </ac:spMkLst>
        </pc:spChg>
        <pc:spChg chg="add">
          <ac:chgData name="Nam Tran" userId="4aee0b4974c0eb7e" providerId="LiveId" clId="{D82195CA-335C-41A3-B437-0AD3C755EB07}" dt="2019-06-04T16:03:40.178" v="2382" actId="26606"/>
          <ac:spMkLst>
            <pc:docMk/>
            <pc:sldMk cId="327325168" sldId="351"/>
            <ac:spMk id="14" creationId="{25168E7B-6D42-4B3A-B7A1-17D4C49EC903}"/>
          </ac:spMkLst>
        </pc:spChg>
        <pc:picChg chg="del">
          <ac:chgData name="Nam Tran" userId="4aee0b4974c0eb7e" providerId="LiveId" clId="{D82195CA-335C-41A3-B437-0AD3C755EB07}" dt="2019-06-04T16:03:40.178" v="2382" actId="26606"/>
          <ac:picMkLst>
            <pc:docMk/>
            <pc:sldMk cId="327325168" sldId="351"/>
            <ac:picMk id="9" creationId="{2270F1FA-0425-408F-9861-80BF5AFB276D}"/>
          </ac:picMkLst>
        </pc:picChg>
        <pc:picChg chg="add">
          <ac:chgData name="Nam Tran" userId="4aee0b4974c0eb7e" providerId="LiveId" clId="{D82195CA-335C-41A3-B437-0AD3C755EB07}" dt="2019-06-04T16:03:40.178" v="2382" actId="26606"/>
          <ac:picMkLst>
            <pc:docMk/>
            <pc:sldMk cId="327325168" sldId="351"/>
            <ac:picMk id="16" creationId="{98A030C2-9F23-4593-9F99-7B73C232A4C9}"/>
          </ac:picMkLst>
        </pc:picChg>
      </pc:sldChg>
      <pc:sldChg chg="addSp delSp add del setBg delDesignElem">
        <pc:chgData name="Nam Tran" userId="4aee0b4974c0eb7e" providerId="LiveId" clId="{D82195CA-335C-41A3-B437-0AD3C755EB07}" dt="2019-06-04T16:03:14.840" v="2377"/>
        <pc:sldMkLst>
          <pc:docMk/>
          <pc:sldMk cId="3756346367" sldId="351"/>
        </pc:sldMkLst>
        <pc:spChg chg="add del">
          <ac:chgData name="Nam Tran" userId="4aee0b4974c0eb7e" providerId="LiveId" clId="{D82195CA-335C-41A3-B437-0AD3C755EB07}" dt="2019-06-04T16:03:14.840" v="2377"/>
          <ac:spMkLst>
            <pc:docMk/>
            <pc:sldMk cId="3756346367" sldId="351"/>
            <ac:spMk id="7" creationId="{23962611-DFD5-4092-AAFD-559E3DFCE2C9}"/>
          </ac:spMkLst>
        </pc:spChg>
        <pc:picChg chg="add del">
          <ac:chgData name="Nam Tran" userId="4aee0b4974c0eb7e" providerId="LiveId" clId="{D82195CA-335C-41A3-B437-0AD3C755EB07}" dt="2019-06-04T16:03:14.840" v="2377"/>
          <ac:picMkLst>
            <pc:docMk/>
            <pc:sldMk cId="3756346367" sldId="351"/>
            <ac:picMk id="9" creationId="{2270F1FA-0425-408F-9861-80BF5AFB276D}"/>
          </ac:picMkLst>
        </pc:picChg>
      </pc:sldChg>
      <pc:sldChg chg="addSp delSp modSp add mod setBg modNotesTx">
        <pc:chgData name="Nam Tran" userId="4aee0b4974c0eb7e" providerId="LiveId" clId="{D82195CA-335C-41A3-B437-0AD3C755EB07}" dt="2019-06-04T16:09:37.428" v="2659" actId="20577"/>
        <pc:sldMkLst>
          <pc:docMk/>
          <pc:sldMk cId="2932330111" sldId="352"/>
        </pc:sldMkLst>
        <pc:spChg chg="add del">
          <ac:chgData name="Nam Tran" userId="4aee0b4974c0eb7e" providerId="LiveId" clId="{D82195CA-335C-41A3-B437-0AD3C755EB07}" dt="2019-06-04T16:07:21.430" v="2403" actId="26606"/>
          <ac:spMkLst>
            <pc:docMk/>
            <pc:sldMk cId="2932330111" sldId="352"/>
            <ac:spMk id="7" creationId="{32BC26D8-82FB-445E-AA49-62A77D7C1EE0}"/>
          </ac:spMkLst>
        </pc:spChg>
        <pc:spChg chg="add del">
          <ac:chgData name="Nam Tran" userId="4aee0b4974c0eb7e" providerId="LiveId" clId="{D82195CA-335C-41A3-B437-0AD3C755EB07}" dt="2019-06-04T16:07:21.430" v="2403" actId="26606"/>
          <ac:spMkLst>
            <pc:docMk/>
            <pc:sldMk cId="2932330111" sldId="352"/>
            <ac:spMk id="9" creationId="{CB44330D-EA18-4254-AA95-EB49948539B8}"/>
          </ac:spMkLst>
        </pc:spChg>
        <pc:picChg chg="add mod">
          <ac:chgData name="Nam Tran" userId="4aee0b4974c0eb7e" providerId="LiveId" clId="{D82195CA-335C-41A3-B437-0AD3C755EB07}" dt="2019-06-04T16:07:36.223" v="2408" actId="14100"/>
          <ac:picMkLst>
            <pc:docMk/>
            <pc:sldMk cId="2932330111" sldId="352"/>
            <ac:picMk id="2" creationId="{E25F3416-F585-4887-8CFE-FDB432406C6E}"/>
          </ac:picMkLst>
        </pc:picChg>
      </pc:sldChg>
      <pc:sldChg chg="addSp modSp add">
        <pc:chgData name="Nam Tran" userId="4aee0b4974c0eb7e" providerId="LiveId" clId="{D82195CA-335C-41A3-B437-0AD3C755EB07}" dt="2019-06-04T16:10:03.953" v="2662" actId="1076"/>
        <pc:sldMkLst>
          <pc:docMk/>
          <pc:sldMk cId="1875178894" sldId="353"/>
        </pc:sldMkLst>
        <pc:picChg chg="add mod">
          <ac:chgData name="Nam Tran" userId="4aee0b4974c0eb7e" providerId="LiveId" clId="{D82195CA-335C-41A3-B437-0AD3C755EB07}" dt="2019-06-04T16:10:03.953" v="2662" actId="1076"/>
          <ac:picMkLst>
            <pc:docMk/>
            <pc:sldMk cId="1875178894" sldId="353"/>
            <ac:picMk id="2" creationId="{3D41AB36-3404-4B7C-B482-560918E44AA7}"/>
          </ac:picMkLst>
        </pc:picChg>
      </pc:sldChg>
      <pc:sldChg chg="modSp">
        <pc:chgData name="Nam Tran" userId="4aee0b4974c0eb7e" providerId="LiveId" clId="{D82195CA-335C-41A3-B437-0AD3C755EB07}" dt="2019-06-04T16:12:41.563" v="2714" actId="20577"/>
        <pc:sldMkLst>
          <pc:docMk/>
          <pc:sldMk cId="2679578571" sldId="354"/>
        </pc:sldMkLst>
        <pc:spChg chg="mod">
          <ac:chgData name="Nam Tran" userId="4aee0b4974c0eb7e" providerId="LiveId" clId="{D82195CA-335C-41A3-B437-0AD3C755EB07}" dt="2019-06-04T16:12:41.563" v="2714" actId="20577"/>
          <ac:spMkLst>
            <pc:docMk/>
            <pc:sldMk cId="2679578571" sldId="354"/>
            <ac:spMk id="2" creationId="{902C31A5-6731-4F0E-90B2-B3B98FCA956D}"/>
          </ac:spMkLst>
        </pc:spChg>
      </pc:sldChg>
      <pc:sldChg chg="addSp delSp modSp add mod setBg modNotesTx">
        <pc:chgData name="Nam Tran" userId="4aee0b4974c0eb7e" providerId="LiveId" clId="{D82195CA-335C-41A3-B437-0AD3C755EB07}" dt="2019-06-04T16:16:28.040" v="2778" actId="20577"/>
        <pc:sldMkLst>
          <pc:docMk/>
          <pc:sldMk cId="3052542103" sldId="355"/>
        </pc:sldMkLst>
        <pc:spChg chg="del">
          <ac:chgData name="Nam Tran" userId="4aee0b4974c0eb7e" providerId="LiveId" clId="{D82195CA-335C-41A3-B437-0AD3C755EB07}" dt="2019-06-04T16:14:25.272" v="2716"/>
          <ac:spMkLst>
            <pc:docMk/>
            <pc:sldMk cId="3052542103" sldId="355"/>
            <ac:spMk id="2" creationId="{3307852A-6720-4FCB-ADA7-39973B536D3A}"/>
          </ac:spMkLst>
        </pc:spChg>
        <pc:spChg chg="del">
          <ac:chgData name="Nam Tran" userId="4aee0b4974c0eb7e" providerId="LiveId" clId="{D82195CA-335C-41A3-B437-0AD3C755EB07}" dt="2019-06-04T16:14:25.272" v="2716"/>
          <ac:spMkLst>
            <pc:docMk/>
            <pc:sldMk cId="3052542103" sldId="355"/>
            <ac:spMk id="3" creationId="{235FCC1A-A924-4869-B79E-1694DD43CB7A}"/>
          </ac:spMkLst>
        </pc:spChg>
        <pc:picChg chg="add mod">
          <ac:chgData name="Nam Tran" userId="4aee0b4974c0eb7e" providerId="LiveId" clId="{D82195CA-335C-41A3-B437-0AD3C755EB07}" dt="2019-06-04T16:14:33.911" v="2720" actId="962"/>
          <ac:picMkLst>
            <pc:docMk/>
            <pc:sldMk cId="3052542103" sldId="355"/>
            <ac:picMk id="4" creationId="{1F6F6167-A338-466C-940E-2927082BA703}"/>
          </ac:picMkLst>
        </pc:picChg>
      </pc:sldChg>
      <pc:sldChg chg="addSp modSp add">
        <pc:chgData name="Nam Tran" userId="4aee0b4974c0eb7e" providerId="LiveId" clId="{D82195CA-335C-41A3-B437-0AD3C755EB07}" dt="2019-06-04T16:25:14.783" v="2905" actId="113"/>
        <pc:sldMkLst>
          <pc:docMk/>
          <pc:sldMk cId="1607351357" sldId="356"/>
        </pc:sldMkLst>
        <pc:spChg chg="add mod">
          <ac:chgData name="Nam Tran" userId="4aee0b4974c0eb7e" providerId="LiveId" clId="{D82195CA-335C-41A3-B437-0AD3C755EB07}" dt="2019-06-04T16:25:14.783" v="2905" actId="113"/>
          <ac:spMkLst>
            <pc:docMk/>
            <pc:sldMk cId="1607351357" sldId="356"/>
            <ac:spMk id="3" creationId="{5B13116E-3BD3-46F0-A604-4C985B5E41CA}"/>
          </ac:spMkLst>
        </pc:spChg>
        <pc:picChg chg="add mod">
          <ac:chgData name="Nam Tran" userId="4aee0b4974c0eb7e" providerId="LiveId" clId="{D82195CA-335C-41A3-B437-0AD3C755EB07}" dt="2019-06-04T16:17:23.089" v="2785" actId="1076"/>
          <ac:picMkLst>
            <pc:docMk/>
            <pc:sldMk cId="1607351357" sldId="356"/>
            <ac:picMk id="2" creationId="{FB5CBFA4-6EF4-4988-871C-3E78A89488C2}"/>
          </ac:picMkLst>
        </pc:picChg>
      </pc:sldChg>
      <pc:sldChg chg="addSp delSp modSp add mod setBg">
        <pc:chgData name="Nam Tran" userId="4aee0b4974c0eb7e" providerId="LiveId" clId="{D82195CA-335C-41A3-B437-0AD3C755EB07}" dt="2019-06-04T16:47:33.133" v="3349" actId="14100"/>
        <pc:sldMkLst>
          <pc:docMk/>
          <pc:sldMk cId="3324795012" sldId="357"/>
        </pc:sldMkLst>
        <pc:spChg chg="add del mod">
          <ac:chgData name="Nam Tran" userId="4aee0b4974c0eb7e" providerId="LiveId" clId="{D82195CA-335C-41A3-B437-0AD3C755EB07}" dt="2019-06-04T16:27:24.783" v="2943"/>
          <ac:spMkLst>
            <pc:docMk/>
            <pc:sldMk cId="3324795012" sldId="357"/>
            <ac:spMk id="2" creationId="{57067349-B06A-423D-B782-67E37924A8E6}"/>
          </ac:spMkLst>
        </pc:spChg>
        <pc:spChg chg="add del mod">
          <ac:chgData name="Nam Tran" userId="4aee0b4974c0eb7e" providerId="LiveId" clId="{D82195CA-335C-41A3-B437-0AD3C755EB07}" dt="2019-06-04T16:31:56.724" v="2950" actId="478"/>
          <ac:spMkLst>
            <pc:docMk/>
            <pc:sldMk cId="3324795012" sldId="357"/>
            <ac:spMk id="3" creationId="{7BE10D11-8500-4293-858A-C01F9185BBEB}"/>
          </ac:spMkLst>
        </pc:spChg>
        <pc:spChg chg="add del mod">
          <ac:chgData name="Nam Tran" userId="4aee0b4974c0eb7e" providerId="LiveId" clId="{D82195CA-335C-41A3-B437-0AD3C755EB07}" dt="2019-06-04T16:31:58.583" v="2951" actId="478"/>
          <ac:spMkLst>
            <pc:docMk/>
            <pc:sldMk cId="3324795012" sldId="357"/>
            <ac:spMk id="4" creationId="{62DF0443-D8E0-453B-A4DF-739009FC05D9}"/>
          </ac:spMkLst>
        </pc:spChg>
        <pc:spChg chg="add mod">
          <ac:chgData name="Nam Tran" userId="4aee0b4974c0eb7e" providerId="LiveId" clId="{D82195CA-335C-41A3-B437-0AD3C755EB07}" dt="2019-06-04T16:47:13.403" v="3342" actId="26606"/>
          <ac:spMkLst>
            <pc:docMk/>
            <pc:sldMk cId="3324795012" sldId="357"/>
            <ac:spMk id="6" creationId="{6296AD05-0042-48E5-A9D6-879813897AC7}"/>
          </ac:spMkLst>
        </pc:spChg>
        <pc:spChg chg="add del mod">
          <ac:chgData name="Nam Tran" userId="4aee0b4974c0eb7e" providerId="LiveId" clId="{D82195CA-335C-41A3-B437-0AD3C755EB07}" dt="2019-06-04T16:47:13.403" v="3342" actId="26606"/>
          <ac:spMkLst>
            <pc:docMk/>
            <pc:sldMk cId="3324795012" sldId="357"/>
            <ac:spMk id="7" creationId="{828DE855-A4EA-4572-A519-0C5DB1F2650D}"/>
          </ac:spMkLst>
        </pc:spChg>
        <pc:spChg chg="add del">
          <ac:chgData name="Nam Tran" userId="4aee0b4974c0eb7e" providerId="LiveId" clId="{D82195CA-335C-41A3-B437-0AD3C755EB07}" dt="2019-06-04T16:47:13.403" v="3342" actId="26606"/>
          <ac:spMkLst>
            <pc:docMk/>
            <pc:sldMk cId="3324795012" sldId="357"/>
            <ac:spMk id="12" creationId="{3B854194-185D-494D-905C-7C7CB2E30F6E}"/>
          </ac:spMkLst>
        </pc:spChg>
        <pc:spChg chg="add del">
          <ac:chgData name="Nam Tran" userId="4aee0b4974c0eb7e" providerId="LiveId" clId="{D82195CA-335C-41A3-B437-0AD3C755EB07}" dt="2019-06-04T16:47:13.403" v="3342" actId="26606"/>
          <ac:spMkLst>
            <pc:docMk/>
            <pc:sldMk cId="3324795012" sldId="357"/>
            <ac:spMk id="14" creationId="{B4F5FA0D-0104-4987-8241-EFF7C85B88DE}"/>
          </ac:spMkLst>
        </pc:spChg>
        <pc:spChg chg="add">
          <ac:chgData name="Nam Tran" userId="4aee0b4974c0eb7e" providerId="LiveId" clId="{D82195CA-335C-41A3-B437-0AD3C755EB07}" dt="2019-06-04T16:47:13.403" v="3342" actId="26606"/>
          <ac:spMkLst>
            <pc:docMk/>
            <pc:sldMk cId="3324795012" sldId="357"/>
            <ac:spMk id="23" creationId="{0499AD7B-99D4-4755-8966-F7BA0426904B}"/>
          </ac:spMkLst>
        </pc:spChg>
        <pc:graphicFrameChg chg="add del mod modGraphic">
          <ac:chgData name="Nam Tran" userId="4aee0b4974c0eb7e" providerId="LiveId" clId="{D82195CA-335C-41A3-B437-0AD3C755EB07}" dt="2019-06-04T16:32:35.607" v="2956" actId="478"/>
          <ac:graphicFrameMkLst>
            <pc:docMk/>
            <pc:sldMk cId="3324795012" sldId="357"/>
            <ac:graphicFrameMk id="5" creationId="{D6713530-A712-42CF-A7AE-448CEA3B562E}"/>
          </ac:graphicFrameMkLst>
        </pc:graphicFrameChg>
        <pc:graphicFrameChg chg="add mod">
          <ac:chgData name="Nam Tran" userId="4aee0b4974c0eb7e" providerId="LiveId" clId="{D82195CA-335C-41A3-B437-0AD3C755EB07}" dt="2019-06-04T16:47:33.133" v="3349" actId="14100"/>
          <ac:graphicFrameMkLst>
            <pc:docMk/>
            <pc:sldMk cId="3324795012" sldId="357"/>
            <ac:graphicFrameMk id="18" creationId="{DC810753-00D3-4E0C-93FB-A099DCDF528F}"/>
          </ac:graphicFrameMkLst>
        </pc:graphicFrameChg>
        <pc:picChg chg="add del">
          <ac:chgData name="Nam Tran" userId="4aee0b4974c0eb7e" providerId="LiveId" clId="{D82195CA-335C-41A3-B437-0AD3C755EB07}" dt="2019-06-04T16:47:13.403" v="3342" actId="26606"/>
          <ac:picMkLst>
            <pc:docMk/>
            <pc:sldMk cId="3324795012" sldId="357"/>
            <ac:picMk id="16" creationId="{2897127E-6CEF-446C-BE87-93B7C46E49D1}"/>
          </ac:picMkLst>
        </pc:picChg>
        <pc:picChg chg="add">
          <ac:chgData name="Nam Tran" userId="4aee0b4974c0eb7e" providerId="LiveId" clId="{D82195CA-335C-41A3-B437-0AD3C755EB07}" dt="2019-06-04T16:47:13.403" v="3342" actId="26606"/>
          <ac:picMkLst>
            <pc:docMk/>
            <pc:sldMk cId="3324795012" sldId="357"/>
            <ac:picMk id="25" creationId="{1A06F89A-489D-4383-94C5-42F7FF2E9A63}"/>
          </ac:picMkLst>
        </pc:picChg>
      </pc:sldChg>
      <pc:sldChg chg="addSp delSp add del setBg delDesignElem">
        <pc:chgData name="Nam Tran" userId="4aee0b4974c0eb7e" providerId="LiveId" clId="{D82195CA-335C-41A3-B437-0AD3C755EB07}" dt="2019-06-04T16:27:18.379" v="2940"/>
        <pc:sldMkLst>
          <pc:docMk/>
          <pc:sldMk cId="1449353699" sldId="358"/>
        </pc:sldMkLst>
        <pc:spChg chg="add del">
          <ac:chgData name="Nam Tran" userId="4aee0b4974c0eb7e" providerId="LiveId" clId="{D82195CA-335C-41A3-B437-0AD3C755EB07}" dt="2019-06-04T16:27:18.379" v="2940"/>
          <ac:spMkLst>
            <pc:docMk/>
            <pc:sldMk cId="1449353699" sldId="358"/>
            <ac:spMk id="7" creationId="{23962611-DFD5-4092-AAFD-559E3DFCE2C9}"/>
          </ac:spMkLst>
        </pc:spChg>
        <pc:picChg chg="add del">
          <ac:chgData name="Nam Tran" userId="4aee0b4974c0eb7e" providerId="LiveId" clId="{D82195CA-335C-41A3-B437-0AD3C755EB07}" dt="2019-06-04T16:27:18.379" v="2940"/>
          <ac:picMkLst>
            <pc:docMk/>
            <pc:sldMk cId="1449353699" sldId="358"/>
            <ac:picMk id="9" creationId="{2270F1FA-0425-408F-9861-80BF5AFB276D}"/>
          </ac:picMkLst>
        </pc:picChg>
      </pc:sldChg>
      <pc:sldChg chg="modSp">
        <pc:chgData name="Nam Tran" userId="4aee0b4974c0eb7e" providerId="LiveId" clId="{D82195CA-335C-41A3-B437-0AD3C755EB07}" dt="2019-06-04T16:27:50.403" v="2948"/>
        <pc:sldMkLst>
          <pc:docMk/>
          <pc:sldMk cId="1924732004" sldId="358"/>
        </pc:sldMkLst>
        <pc:spChg chg="mod">
          <ac:chgData name="Nam Tran" userId="4aee0b4974c0eb7e" providerId="LiveId" clId="{D82195CA-335C-41A3-B437-0AD3C755EB07}" dt="2019-06-04T16:27:50.403" v="2948"/>
          <ac:spMkLst>
            <pc:docMk/>
            <pc:sldMk cId="1924732004" sldId="358"/>
            <ac:spMk id="2" creationId="{902C31A5-6731-4F0E-90B2-B3B98FCA956D}"/>
          </ac:spMkLst>
        </pc:spChg>
      </pc:sldChg>
      <pc:sldChg chg="addSp delSp add del setBg delDesignElem">
        <pc:chgData name="Nam Tran" userId="4aee0b4974c0eb7e" providerId="LiveId" clId="{D82195CA-335C-41A3-B437-0AD3C755EB07}" dt="2019-06-04T16:49:09.063" v="3367"/>
        <pc:sldMkLst>
          <pc:docMk/>
          <pc:sldMk cId="1046230764" sldId="359"/>
        </pc:sldMkLst>
        <pc:spChg chg="add del">
          <ac:chgData name="Nam Tran" userId="4aee0b4974c0eb7e" providerId="LiveId" clId="{D82195CA-335C-41A3-B437-0AD3C755EB07}" dt="2019-06-04T16:49:09.063" v="3367"/>
          <ac:spMkLst>
            <pc:docMk/>
            <pc:sldMk cId="1046230764" sldId="359"/>
            <ac:spMk id="7" creationId="{23962611-DFD5-4092-AAFD-559E3DFCE2C9}"/>
          </ac:spMkLst>
        </pc:spChg>
        <pc:picChg chg="add del">
          <ac:chgData name="Nam Tran" userId="4aee0b4974c0eb7e" providerId="LiveId" clId="{D82195CA-335C-41A3-B437-0AD3C755EB07}" dt="2019-06-04T16:49:09.063" v="3367"/>
          <ac:picMkLst>
            <pc:docMk/>
            <pc:sldMk cId="1046230764" sldId="359"/>
            <ac:picMk id="9" creationId="{2270F1FA-0425-408F-9861-80BF5AFB276D}"/>
          </ac:picMkLst>
        </pc:picChg>
      </pc:sldChg>
      <pc:sldChg chg="modSp">
        <pc:chgData name="Nam Tran" userId="4aee0b4974c0eb7e" providerId="LiveId" clId="{D82195CA-335C-41A3-B437-0AD3C755EB07}" dt="2019-06-04T17:02:24.533" v="3506" actId="20577"/>
        <pc:sldMkLst>
          <pc:docMk/>
          <pc:sldMk cId="2072553293" sldId="359"/>
        </pc:sldMkLst>
        <pc:spChg chg="mod">
          <ac:chgData name="Nam Tran" userId="4aee0b4974c0eb7e" providerId="LiveId" clId="{D82195CA-335C-41A3-B437-0AD3C755EB07}" dt="2019-06-04T17:02:24.533" v="3506" actId="20577"/>
          <ac:spMkLst>
            <pc:docMk/>
            <pc:sldMk cId="2072553293" sldId="359"/>
            <ac:spMk id="2" creationId="{902C31A5-6731-4F0E-90B2-B3B98FCA956D}"/>
          </ac:spMkLst>
        </pc:spChg>
      </pc:sldChg>
      <pc:sldChg chg="addSp delSp modSp add">
        <pc:chgData name="Nam Tran" userId="4aee0b4974c0eb7e" providerId="LiveId" clId="{D82195CA-335C-41A3-B437-0AD3C755EB07}" dt="2019-06-04T17:11:53.904" v="3567" actId="732"/>
        <pc:sldMkLst>
          <pc:docMk/>
          <pc:sldMk cId="1567642577" sldId="360"/>
        </pc:sldMkLst>
        <pc:spChg chg="del">
          <ac:chgData name="Nam Tran" userId="4aee0b4974c0eb7e" providerId="LiveId" clId="{D82195CA-335C-41A3-B437-0AD3C755EB07}" dt="2019-06-04T16:50:08.612" v="3409" actId="478"/>
          <ac:spMkLst>
            <pc:docMk/>
            <pc:sldMk cId="1567642577" sldId="360"/>
            <ac:spMk id="2" creationId="{AF620924-E7C0-4D15-83DE-561234BDBF5B}"/>
          </ac:spMkLst>
        </pc:spChg>
        <pc:spChg chg="del">
          <ac:chgData name="Nam Tran" userId="4aee0b4974c0eb7e" providerId="LiveId" clId="{D82195CA-335C-41A3-B437-0AD3C755EB07}" dt="2019-06-04T16:50:10.393" v="3410" actId="478"/>
          <ac:spMkLst>
            <pc:docMk/>
            <pc:sldMk cId="1567642577" sldId="360"/>
            <ac:spMk id="3" creationId="{F3300D58-68A6-4429-ABAD-CE15348B9DA4}"/>
          </ac:spMkLst>
        </pc:spChg>
        <pc:spChg chg="add mod">
          <ac:chgData name="Nam Tran" userId="4aee0b4974c0eb7e" providerId="LiveId" clId="{D82195CA-335C-41A3-B437-0AD3C755EB07}" dt="2019-06-04T16:59:27.978" v="3470" actId="1076"/>
          <ac:spMkLst>
            <pc:docMk/>
            <pc:sldMk cId="1567642577" sldId="360"/>
            <ac:spMk id="5" creationId="{AB9A52A0-8475-4B9F-9CD7-1A90FC6F36B9}"/>
          </ac:spMkLst>
        </pc:spChg>
        <pc:picChg chg="add mod modCrop">
          <ac:chgData name="Nam Tran" userId="4aee0b4974c0eb7e" providerId="LiveId" clId="{D82195CA-335C-41A3-B437-0AD3C755EB07}" dt="2019-06-04T17:11:53.904" v="3567" actId="732"/>
          <ac:picMkLst>
            <pc:docMk/>
            <pc:sldMk cId="1567642577" sldId="360"/>
            <ac:picMk id="4" creationId="{5A55DA7F-E77A-4B3E-A419-4430D07ED34F}"/>
          </ac:picMkLst>
        </pc:picChg>
      </pc:sldChg>
      <pc:sldChg chg="addSp delSp modSp add delAnim modAnim">
        <pc:chgData name="Nam Tran" userId="4aee0b4974c0eb7e" providerId="LiveId" clId="{D82195CA-335C-41A3-B437-0AD3C755EB07}" dt="2019-06-04T17:11:45.094" v="3566" actId="732"/>
        <pc:sldMkLst>
          <pc:docMk/>
          <pc:sldMk cId="3052545052" sldId="361"/>
        </pc:sldMkLst>
        <pc:spChg chg="del">
          <ac:chgData name="Nam Tran" userId="4aee0b4974c0eb7e" providerId="LiveId" clId="{D82195CA-335C-41A3-B437-0AD3C755EB07}" dt="2019-06-04T17:00:59.258" v="3473"/>
          <ac:spMkLst>
            <pc:docMk/>
            <pc:sldMk cId="3052545052" sldId="361"/>
            <ac:spMk id="2" creationId="{D6F12BCA-FCDC-4877-A7BF-A5FBCC989EB5}"/>
          </ac:spMkLst>
        </pc:spChg>
        <pc:spChg chg="del">
          <ac:chgData name="Nam Tran" userId="4aee0b4974c0eb7e" providerId="LiveId" clId="{D82195CA-335C-41A3-B437-0AD3C755EB07}" dt="2019-06-04T17:00:59.258" v="3473"/>
          <ac:spMkLst>
            <pc:docMk/>
            <pc:sldMk cId="3052545052" sldId="361"/>
            <ac:spMk id="3" creationId="{F5A55DA2-29FA-472D-B161-DD3C5FC953BF}"/>
          </ac:spMkLst>
        </pc:spChg>
        <pc:spChg chg="add mod">
          <ac:chgData name="Nam Tran" userId="4aee0b4974c0eb7e" providerId="LiveId" clId="{D82195CA-335C-41A3-B437-0AD3C755EB07}" dt="2019-06-04T17:11:39.719" v="3565" actId="1076"/>
          <ac:spMkLst>
            <pc:docMk/>
            <pc:sldMk cId="3052545052" sldId="361"/>
            <ac:spMk id="5" creationId="{75D4B00C-BD5D-48C5-AE49-047B433DF1E0}"/>
          </ac:spMkLst>
        </pc:spChg>
        <pc:picChg chg="add mod modCrop">
          <ac:chgData name="Nam Tran" userId="4aee0b4974c0eb7e" providerId="LiveId" clId="{D82195CA-335C-41A3-B437-0AD3C755EB07}" dt="2019-06-04T17:11:45.094" v="3566" actId="732"/>
          <ac:picMkLst>
            <pc:docMk/>
            <pc:sldMk cId="3052545052" sldId="361"/>
            <ac:picMk id="4" creationId="{6A1D805F-CDA1-430E-A025-F1867B25FFFF}"/>
          </ac:picMkLst>
        </pc:picChg>
        <pc:picChg chg="add del mod">
          <ac:chgData name="Nam Tran" userId="4aee0b4974c0eb7e" providerId="LiveId" clId="{D82195CA-335C-41A3-B437-0AD3C755EB07}" dt="2019-06-04T17:11:24.659" v="3562" actId="478"/>
          <ac:picMkLst>
            <pc:docMk/>
            <pc:sldMk cId="3052545052" sldId="361"/>
            <ac:picMk id="6" creationId="{92C86CA9-E4C1-42B2-B26A-9C503C61A27C}"/>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9BB20A-02F2-4327-8471-BA66E6AE5B47}" type="doc">
      <dgm:prSet loTypeId="urn:microsoft.com/office/officeart/2005/8/layout/vProcess5" loCatId="process" qsTypeId="urn:microsoft.com/office/officeart/2005/8/quickstyle/simple5" qsCatId="simple" csTypeId="urn:microsoft.com/office/officeart/2005/8/colors/accent0_3" csCatId="mainScheme" phldr="1"/>
      <dgm:spPr/>
    </dgm:pt>
    <dgm:pt modelId="{DAD83435-E5E0-4A52-8785-9C8A0DDC3B1D}">
      <dgm:prSet phldrT="[Text]"/>
      <dgm:spPr/>
      <dgm:t>
        <a:bodyPr/>
        <a:lstStyle/>
        <a:p>
          <a:r>
            <a:rPr lang="en-US" dirty="0"/>
            <a:t>Tier 3: PhD Program in School Counseling (in the future)</a:t>
          </a:r>
        </a:p>
      </dgm:t>
    </dgm:pt>
    <dgm:pt modelId="{4CD87A6B-ABA3-44D4-B63F-BBFA6DBD1931}" type="parTrans" cxnId="{00F4730E-EFCB-423B-B88B-6BEEE590994D}">
      <dgm:prSet/>
      <dgm:spPr/>
      <dgm:t>
        <a:bodyPr/>
        <a:lstStyle/>
        <a:p>
          <a:endParaRPr lang="en-US"/>
        </a:p>
      </dgm:t>
    </dgm:pt>
    <dgm:pt modelId="{697CBB5A-D9CB-4D33-97C3-A2A72549ED31}" type="sibTrans" cxnId="{00F4730E-EFCB-423B-B88B-6BEEE590994D}">
      <dgm:prSet/>
      <dgm:spPr/>
      <dgm:t>
        <a:bodyPr/>
        <a:lstStyle/>
        <a:p>
          <a:endParaRPr lang="en-US"/>
        </a:p>
      </dgm:t>
    </dgm:pt>
    <dgm:pt modelId="{503209C5-9BC0-4029-A38E-93F9713202E6}">
      <dgm:prSet phldrT="[Text]"/>
      <dgm:spPr/>
      <dgm:t>
        <a:bodyPr/>
        <a:lstStyle/>
        <a:p>
          <a:r>
            <a:rPr lang="en-US" dirty="0"/>
            <a:t>Tier 2: MA in School Counseling Program</a:t>
          </a:r>
        </a:p>
      </dgm:t>
    </dgm:pt>
    <dgm:pt modelId="{7F53C663-ABDD-42FA-8F3D-66269F69EE8D}" type="parTrans" cxnId="{A05AAAC7-D4C6-4D2E-89E1-8ABA712B51DF}">
      <dgm:prSet/>
      <dgm:spPr/>
      <dgm:t>
        <a:bodyPr/>
        <a:lstStyle/>
        <a:p>
          <a:endParaRPr lang="en-US"/>
        </a:p>
      </dgm:t>
    </dgm:pt>
    <dgm:pt modelId="{ED07FE8E-3919-4309-803A-7B1671FF8784}" type="sibTrans" cxnId="{A05AAAC7-D4C6-4D2E-89E1-8ABA712B51DF}">
      <dgm:prSet/>
      <dgm:spPr/>
      <dgm:t>
        <a:bodyPr/>
        <a:lstStyle/>
        <a:p>
          <a:endParaRPr lang="en-US"/>
        </a:p>
      </dgm:t>
    </dgm:pt>
    <dgm:pt modelId="{01B6298D-E0E6-4E77-AF93-D763CD37E530}">
      <dgm:prSet phldrT="[Text]"/>
      <dgm:spPr/>
      <dgm:t>
        <a:bodyPr/>
        <a:lstStyle/>
        <a:p>
          <a:r>
            <a:rPr lang="en-US" dirty="0"/>
            <a:t>Tier 1: BA oriented in school counseling Program; Teacher certificated training program for school counseling (in-service teacher training courses)  </a:t>
          </a:r>
        </a:p>
      </dgm:t>
    </dgm:pt>
    <dgm:pt modelId="{020C4FD9-AC13-461B-B4B1-AE4492E17223}" type="parTrans" cxnId="{31B8FF24-C6BA-402B-B1F7-12EA56CF0FCE}">
      <dgm:prSet/>
      <dgm:spPr/>
      <dgm:t>
        <a:bodyPr/>
        <a:lstStyle/>
        <a:p>
          <a:endParaRPr lang="en-US"/>
        </a:p>
      </dgm:t>
    </dgm:pt>
    <dgm:pt modelId="{741D152C-D903-472A-B3C7-6CA7A3D37F61}" type="sibTrans" cxnId="{31B8FF24-C6BA-402B-B1F7-12EA56CF0FCE}">
      <dgm:prSet/>
      <dgm:spPr/>
      <dgm:t>
        <a:bodyPr/>
        <a:lstStyle/>
        <a:p>
          <a:endParaRPr lang="en-US"/>
        </a:p>
      </dgm:t>
    </dgm:pt>
    <dgm:pt modelId="{6D9E95C6-751B-485A-9E3A-F9AA60C8996B}" type="pres">
      <dgm:prSet presAssocID="{569BB20A-02F2-4327-8471-BA66E6AE5B47}" presName="outerComposite" presStyleCnt="0">
        <dgm:presLayoutVars>
          <dgm:chMax val="5"/>
          <dgm:dir/>
          <dgm:resizeHandles val="exact"/>
        </dgm:presLayoutVars>
      </dgm:prSet>
      <dgm:spPr/>
    </dgm:pt>
    <dgm:pt modelId="{CB6B62AF-23F5-498F-8425-D84CA336F31B}" type="pres">
      <dgm:prSet presAssocID="{569BB20A-02F2-4327-8471-BA66E6AE5B47}" presName="dummyMaxCanvas" presStyleCnt="0">
        <dgm:presLayoutVars/>
      </dgm:prSet>
      <dgm:spPr/>
    </dgm:pt>
    <dgm:pt modelId="{7ADFC18A-51A7-4C87-B8C6-F1AF91A305F6}" type="pres">
      <dgm:prSet presAssocID="{569BB20A-02F2-4327-8471-BA66E6AE5B47}" presName="ThreeNodes_1" presStyleLbl="node1" presStyleIdx="0" presStyleCnt="3">
        <dgm:presLayoutVars>
          <dgm:bulletEnabled val="1"/>
        </dgm:presLayoutVars>
      </dgm:prSet>
      <dgm:spPr/>
    </dgm:pt>
    <dgm:pt modelId="{A177F217-6E3D-49AA-BDC6-FD8CBF2EF159}" type="pres">
      <dgm:prSet presAssocID="{569BB20A-02F2-4327-8471-BA66E6AE5B47}" presName="ThreeNodes_2" presStyleLbl="node1" presStyleIdx="1" presStyleCnt="3">
        <dgm:presLayoutVars>
          <dgm:bulletEnabled val="1"/>
        </dgm:presLayoutVars>
      </dgm:prSet>
      <dgm:spPr/>
    </dgm:pt>
    <dgm:pt modelId="{93E4BF0A-A74B-4C9B-8C79-3FBCF0E66D5A}" type="pres">
      <dgm:prSet presAssocID="{569BB20A-02F2-4327-8471-BA66E6AE5B47}" presName="ThreeNodes_3" presStyleLbl="node1" presStyleIdx="2" presStyleCnt="3">
        <dgm:presLayoutVars>
          <dgm:bulletEnabled val="1"/>
        </dgm:presLayoutVars>
      </dgm:prSet>
      <dgm:spPr/>
    </dgm:pt>
    <dgm:pt modelId="{22EA50D5-A539-457D-8AC8-F37D9907AA73}" type="pres">
      <dgm:prSet presAssocID="{569BB20A-02F2-4327-8471-BA66E6AE5B47}" presName="ThreeConn_1-2" presStyleLbl="fgAccFollowNode1" presStyleIdx="0" presStyleCnt="2">
        <dgm:presLayoutVars>
          <dgm:bulletEnabled val="1"/>
        </dgm:presLayoutVars>
      </dgm:prSet>
      <dgm:spPr/>
    </dgm:pt>
    <dgm:pt modelId="{478FE1EE-0E0F-4E11-B954-3B4F49955D0A}" type="pres">
      <dgm:prSet presAssocID="{569BB20A-02F2-4327-8471-BA66E6AE5B47}" presName="ThreeConn_2-3" presStyleLbl="fgAccFollowNode1" presStyleIdx="1" presStyleCnt="2">
        <dgm:presLayoutVars>
          <dgm:bulletEnabled val="1"/>
        </dgm:presLayoutVars>
      </dgm:prSet>
      <dgm:spPr/>
    </dgm:pt>
    <dgm:pt modelId="{0E997F63-C67F-442F-B54A-E30A62D11A3A}" type="pres">
      <dgm:prSet presAssocID="{569BB20A-02F2-4327-8471-BA66E6AE5B47}" presName="ThreeNodes_1_text" presStyleLbl="node1" presStyleIdx="2" presStyleCnt="3">
        <dgm:presLayoutVars>
          <dgm:bulletEnabled val="1"/>
        </dgm:presLayoutVars>
      </dgm:prSet>
      <dgm:spPr/>
    </dgm:pt>
    <dgm:pt modelId="{8D761B8B-420C-4EF9-A3C9-2A5782D7307E}" type="pres">
      <dgm:prSet presAssocID="{569BB20A-02F2-4327-8471-BA66E6AE5B47}" presName="ThreeNodes_2_text" presStyleLbl="node1" presStyleIdx="2" presStyleCnt="3">
        <dgm:presLayoutVars>
          <dgm:bulletEnabled val="1"/>
        </dgm:presLayoutVars>
      </dgm:prSet>
      <dgm:spPr/>
    </dgm:pt>
    <dgm:pt modelId="{68B004CC-D318-4238-B653-F2EED07DF008}" type="pres">
      <dgm:prSet presAssocID="{569BB20A-02F2-4327-8471-BA66E6AE5B47}" presName="ThreeNodes_3_text" presStyleLbl="node1" presStyleIdx="2" presStyleCnt="3">
        <dgm:presLayoutVars>
          <dgm:bulletEnabled val="1"/>
        </dgm:presLayoutVars>
      </dgm:prSet>
      <dgm:spPr/>
    </dgm:pt>
  </dgm:ptLst>
  <dgm:cxnLst>
    <dgm:cxn modelId="{00F4730E-EFCB-423B-B88B-6BEEE590994D}" srcId="{569BB20A-02F2-4327-8471-BA66E6AE5B47}" destId="{DAD83435-E5E0-4A52-8785-9C8A0DDC3B1D}" srcOrd="0" destOrd="0" parTransId="{4CD87A6B-ABA3-44D4-B63F-BBFA6DBD1931}" sibTransId="{697CBB5A-D9CB-4D33-97C3-A2A72549ED31}"/>
    <dgm:cxn modelId="{31B8FF24-C6BA-402B-B1F7-12EA56CF0FCE}" srcId="{569BB20A-02F2-4327-8471-BA66E6AE5B47}" destId="{01B6298D-E0E6-4E77-AF93-D763CD37E530}" srcOrd="2" destOrd="0" parTransId="{020C4FD9-AC13-461B-B4B1-AE4492E17223}" sibTransId="{741D152C-D903-472A-B3C7-6CA7A3D37F61}"/>
    <dgm:cxn modelId="{3CA8025C-B6E2-4720-A5C0-7E9D1BC998C2}" type="presOf" srcId="{ED07FE8E-3919-4309-803A-7B1671FF8784}" destId="{478FE1EE-0E0F-4E11-B954-3B4F49955D0A}" srcOrd="0" destOrd="0" presId="urn:microsoft.com/office/officeart/2005/8/layout/vProcess5"/>
    <dgm:cxn modelId="{F5FC5844-9508-45BA-8F89-5CC93DD13B17}" type="presOf" srcId="{697CBB5A-D9CB-4D33-97C3-A2A72549ED31}" destId="{22EA50D5-A539-457D-8AC8-F37D9907AA73}" srcOrd="0" destOrd="0" presId="urn:microsoft.com/office/officeart/2005/8/layout/vProcess5"/>
    <dgm:cxn modelId="{C77E3D78-12FA-4F50-8B88-C80DCC74DB9C}" type="presOf" srcId="{01B6298D-E0E6-4E77-AF93-D763CD37E530}" destId="{68B004CC-D318-4238-B653-F2EED07DF008}" srcOrd="1" destOrd="0" presId="urn:microsoft.com/office/officeart/2005/8/layout/vProcess5"/>
    <dgm:cxn modelId="{AE31257F-90E6-404E-A98F-08EDE05DFB29}" type="presOf" srcId="{01B6298D-E0E6-4E77-AF93-D763CD37E530}" destId="{93E4BF0A-A74B-4C9B-8C79-3FBCF0E66D5A}" srcOrd="0" destOrd="0" presId="urn:microsoft.com/office/officeart/2005/8/layout/vProcess5"/>
    <dgm:cxn modelId="{80EB9781-64C1-4A63-9C79-6005E2BCADC6}" type="presOf" srcId="{503209C5-9BC0-4029-A38E-93F9713202E6}" destId="{8D761B8B-420C-4EF9-A3C9-2A5782D7307E}" srcOrd="1" destOrd="0" presId="urn:microsoft.com/office/officeart/2005/8/layout/vProcess5"/>
    <dgm:cxn modelId="{BD542988-982F-46D0-B77C-ABEA7117D320}" type="presOf" srcId="{503209C5-9BC0-4029-A38E-93F9713202E6}" destId="{A177F217-6E3D-49AA-BDC6-FD8CBF2EF159}" srcOrd="0" destOrd="0" presId="urn:microsoft.com/office/officeart/2005/8/layout/vProcess5"/>
    <dgm:cxn modelId="{3F32F6C6-3FE8-4E4F-AF5D-4C2E256C2103}" type="presOf" srcId="{DAD83435-E5E0-4A52-8785-9C8A0DDC3B1D}" destId="{0E997F63-C67F-442F-B54A-E30A62D11A3A}" srcOrd="1" destOrd="0" presId="urn:microsoft.com/office/officeart/2005/8/layout/vProcess5"/>
    <dgm:cxn modelId="{A05AAAC7-D4C6-4D2E-89E1-8ABA712B51DF}" srcId="{569BB20A-02F2-4327-8471-BA66E6AE5B47}" destId="{503209C5-9BC0-4029-A38E-93F9713202E6}" srcOrd="1" destOrd="0" parTransId="{7F53C663-ABDD-42FA-8F3D-66269F69EE8D}" sibTransId="{ED07FE8E-3919-4309-803A-7B1671FF8784}"/>
    <dgm:cxn modelId="{736844D8-28AC-4694-B240-67F3236AE15D}" type="presOf" srcId="{DAD83435-E5E0-4A52-8785-9C8A0DDC3B1D}" destId="{7ADFC18A-51A7-4C87-B8C6-F1AF91A305F6}" srcOrd="0" destOrd="0" presId="urn:microsoft.com/office/officeart/2005/8/layout/vProcess5"/>
    <dgm:cxn modelId="{5B84ABE5-C655-4506-8385-DFC51BCA31FC}" type="presOf" srcId="{569BB20A-02F2-4327-8471-BA66E6AE5B47}" destId="{6D9E95C6-751B-485A-9E3A-F9AA60C8996B}" srcOrd="0" destOrd="0" presId="urn:microsoft.com/office/officeart/2005/8/layout/vProcess5"/>
    <dgm:cxn modelId="{77623A76-2C97-44EB-821A-15371FD4E697}" type="presParOf" srcId="{6D9E95C6-751B-485A-9E3A-F9AA60C8996B}" destId="{CB6B62AF-23F5-498F-8425-D84CA336F31B}" srcOrd="0" destOrd="0" presId="urn:microsoft.com/office/officeart/2005/8/layout/vProcess5"/>
    <dgm:cxn modelId="{888B008F-BBE1-4769-B585-D8571B54B5F9}" type="presParOf" srcId="{6D9E95C6-751B-485A-9E3A-F9AA60C8996B}" destId="{7ADFC18A-51A7-4C87-B8C6-F1AF91A305F6}" srcOrd="1" destOrd="0" presId="urn:microsoft.com/office/officeart/2005/8/layout/vProcess5"/>
    <dgm:cxn modelId="{9ADAEB5B-BA06-44AC-B036-62D693CD0221}" type="presParOf" srcId="{6D9E95C6-751B-485A-9E3A-F9AA60C8996B}" destId="{A177F217-6E3D-49AA-BDC6-FD8CBF2EF159}" srcOrd="2" destOrd="0" presId="urn:microsoft.com/office/officeart/2005/8/layout/vProcess5"/>
    <dgm:cxn modelId="{8866FCA5-23C6-440B-9361-3EF68692CEBC}" type="presParOf" srcId="{6D9E95C6-751B-485A-9E3A-F9AA60C8996B}" destId="{93E4BF0A-A74B-4C9B-8C79-3FBCF0E66D5A}" srcOrd="3" destOrd="0" presId="urn:microsoft.com/office/officeart/2005/8/layout/vProcess5"/>
    <dgm:cxn modelId="{E109DB50-0BFB-4889-8C80-33778BD9C047}" type="presParOf" srcId="{6D9E95C6-751B-485A-9E3A-F9AA60C8996B}" destId="{22EA50D5-A539-457D-8AC8-F37D9907AA73}" srcOrd="4" destOrd="0" presId="urn:microsoft.com/office/officeart/2005/8/layout/vProcess5"/>
    <dgm:cxn modelId="{C4DDEC1F-DC33-45FC-B740-E32CF363FCEA}" type="presParOf" srcId="{6D9E95C6-751B-485A-9E3A-F9AA60C8996B}" destId="{478FE1EE-0E0F-4E11-B954-3B4F49955D0A}" srcOrd="5" destOrd="0" presId="urn:microsoft.com/office/officeart/2005/8/layout/vProcess5"/>
    <dgm:cxn modelId="{780CE6FD-42CD-415C-B8E1-06981DCDF730}" type="presParOf" srcId="{6D9E95C6-751B-485A-9E3A-F9AA60C8996B}" destId="{0E997F63-C67F-442F-B54A-E30A62D11A3A}" srcOrd="6" destOrd="0" presId="urn:microsoft.com/office/officeart/2005/8/layout/vProcess5"/>
    <dgm:cxn modelId="{85A4A4D9-35C2-4198-8EFF-775B3341EFAC}" type="presParOf" srcId="{6D9E95C6-751B-485A-9E3A-F9AA60C8996B}" destId="{8D761B8B-420C-4EF9-A3C9-2A5782D7307E}" srcOrd="7" destOrd="0" presId="urn:microsoft.com/office/officeart/2005/8/layout/vProcess5"/>
    <dgm:cxn modelId="{DC5C38F4-91BA-42DD-9E0C-C1F6AF05EC3D}" type="presParOf" srcId="{6D9E95C6-751B-485A-9E3A-F9AA60C8996B}" destId="{68B004CC-D318-4238-B653-F2EED07DF008}" srcOrd="8"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225E87-A856-450C-9EB4-DCABADA2E511}"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74C46503-391D-418F-A978-8A789A5276E0}">
      <dgm:prSet/>
      <dgm:spPr/>
      <dgm:t>
        <a:bodyPr/>
        <a:lstStyle/>
        <a:p>
          <a:r>
            <a:rPr lang="en-US"/>
            <a:t>Introduction to School Counseling&amp; Theories of Counseling</a:t>
          </a:r>
        </a:p>
      </dgm:t>
    </dgm:pt>
    <dgm:pt modelId="{FAC668E0-5A17-4FF0-A764-01F6B36549F0}" type="parTrans" cxnId="{7B17C93C-C5AC-4EA0-A3B3-05DDC79868F3}">
      <dgm:prSet/>
      <dgm:spPr/>
      <dgm:t>
        <a:bodyPr/>
        <a:lstStyle/>
        <a:p>
          <a:endParaRPr lang="en-US"/>
        </a:p>
      </dgm:t>
    </dgm:pt>
    <dgm:pt modelId="{817EE6F4-7765-444B-9206-2E9A25CD9647}" type="sibTrans" cxnId="{7B17C93C-C5AC-4EA0-A3B3-05DDC79868F3}">
      <dgm:prSet/>
      <dgm:spPr/>
      <dgm:t>
        <a:bodyPr/>
        <a:lstStyle/>
        <a:p>
          <a:endParaRPr lang="en-US"/>
        </a:p>
      </dgm:t>
    </dgm:pt>
    <dgm:pt modelId="{EF06530E-CBD9-4AD0-8885-CCD941C00862}">
      <dgm:prSet/>
      <dgm:spPr/>
      <dgm:t>
        <a:bodyPr/>
        <a:lstStyle/>
        <a:p>
          <a:r>
            <a:rPr lang="en-US"/>
            <a:t>Assessment and case formulization </a:t>
          </a:r>
        </a:p>
      </dgm:t>
    </dgm:pt>
    <dgm:pt modelId="{283FF122-461F-4A40-BEF3-8A33A1D6178A}" type="parTrans" cxnId="{5508985C-64DC-41DD-9471-B82806C71974}">
      <dgm:prSet/>
      <dgm:spPr/>
      <dgm:t>
        <a:bodyPr/>
        <a:lstStyle/>
        <a:p>
          <a:endParaRPr lang="en-US"/>
        </a:p>
      </dgm:t>
    </dgm:pt>
    <dgm:pt modelId="{5D21EF4E-C1F6-4A64-BB5F-C6274536A5B5}" type="sibTrans" cxnId="{5508985C-64DC-41DD-9471-B82806C71974}">
      <dgm:prSet/>
      <dgm:spPr/>
      <dgm:t>
        <a:bodyPr/>
        <a:lstStyle/>
        <a:p>
          <a:endParaRPr lang="en-US"/>
        </a:p>
      </dgm:t>
    </dgm:pt>
    <dgm:pt modelId="{F19F60D1-7FFE-4A7D-942B-1C1FC68DB73B}">
      <dgm:prSet/>
      <dgm:spPr/>
      <dgm:t>
        <a:bodyPr/>
        <a:lstStyle/>
        <a:p>
          <a:r>
            <a:rPr lang="en-US"/>
            <a:t>General counseling skills</a:t>
          </a:r>
        </a:p>
      </dgm:t>
    </dgm:pt>
    <dgm:pt modelId="{E00C98E5-9690-40F8-A56A-BFF27D48EBC2}" type="parTrans" cxnId="{A2174237-B986-48FB-973F-5EEF52C337EE}">
      <dgm:prSet/>
      <dgm:spPr/>
      <dgm:t>
        <a:bodyPr/>
        <a:lstStyle/>
        <a:p>
          <a:endParaRPr lang="en-US"/>
        </a:p>
      </dgm:t>
    </dgm:pt>
    <dgm:pt modelId="{D11E5C69-307D-4421-902B-C09359B93A79}" type="sibTrans" cxnId="{A2174237-B986-48FB-973F-5EEF52C337EE}">
      <dgm:prSet/>
      <dgm:spPr/>
      <dgm:t>
        <a:bodyPr/>
        <a:lstStyle/>
        <a:p>
          <a:endParaRPr lang="en-US"/>
        </a:p>
      </dgm:t>
    </dgm:pt>
    <dgm:pt modelId="{64EEDD25-4C32-4434-B2F5-FB73D6E50B45}">
      <dgm:prSet/>
      <dgm:spPr/>
      <dgm:t>
        <a:bodyPr/>
        <a:lstStyle/>
        <a:p>
          <a:r>
            <a:rPr lang="en-US"/>
            <a:t>Counseling for emotional and behavioral problems</a:t>
          </a:r>
        </a:p>
      </dgm:t>
    </dgm:pt>
    <dgm:pt modelId="{0FA250B8-ED89-400E-9016-1558C3DF3B83}" type="parTrans" cxnId="{F7940966-03EE-47C6-A4EA-EFB0104C2AE7}">
      <dgm:prSet/>
      <dgm:spPr/>
      <dgm:t>
        <a:bodyPr/>
        <a:lstStyle/>
        <a:p>
          <a:endParaRPr lang="en-US"/>
        </a:p>
      </dgm:t>
    </dgm:pt>
    <dgm:pt modelId="{98A09A0A-C43E-4948-AD81-C8E50B19235E}" type="sibTrans" cxnId="{F7940966-03EE-47C6-A4EA-EFB0104C2AE7}">
      <dgm:prSet/>
      <dgm:spPr/>
      <dgm:t>
        <a:bodyPr/>
        <a:lstStyle/>
        <a:p>
          <a:endParaRPr lang="en-US"/>
        </a:p>
      </dgm:t>
    </dgm:pt>
    <dgm:pt modelId="{B6093D2B-E334-4865-AB31-B7A1B0181375}">
      <dgm:prSet/>
      <dgm:spPr/>
      <dgm:t>
        <a:bodyPr/>
        <a:lstStyle/>
        <a:p>
          <a:r>
            <a:rPr lang="en-US"/>
            <a:t>Career counseling and career development</a:t>
          </a:r>
        </a:p>
      </dgm:t>
    </dgm:pt>
    <dgm:pt modelId="{DD7C463B-0046-46E6-B941-642852378E98}" type="parTrans" cxnId="{7DBB3DB4-42CD-442E-9AF9-D12F1730C248}">
      <dgm:prSet/>
      <dgm:spPr/>
      <dgm:t>
        <a:bodyPr/>
        <a:lstStyle/>
        <a:p>
          <a:endParaRPr lang="en-US"/>
        </a:p>
      </dgm:t>
    </dgm:pt>
    <dgm:pt modelId="{C98B9074-39A3-4BFD-90A5-635406676963}" type="sibTrans" cxnId="{7DBB3DB4-42CD-442E-9AF9-D12F1730C248}">
      <dgm:prSet/>
      <dgm:spPr/>
      <dgm:t>
        <a:bodyPr/>
        <a:lstStyle/>
        <a:p>
          <a:endParaRPr lang="en-US"/>
        </a:p>
      </dgm:t>
    </dgm:pt>
    <dgm:pt modelId="{3E31F250-3EE7-4D73-A67C-A80D230B256A}">
      <dgm:prSet/>
      <dgm:spPr/>
      <dgm:t>
        <a:bodyPr/>
        <a:lstStyle/>
        <a:p>
          <a:r>
            <a:rPr lang="en-US"/>
            <a:t>Gender and reproductive health counseling</a:t>
          </a:r>
        </a:p>
      </dgm:t>
    </dgm:pt>
    <dgm:pt modelId="{38E4658B-A08C-4FCC-BA22-ADA523D81903}" type="parTrans" cxnId="{5E7110D5-8DBA-49CD-9ABF-F789794B004D}">
      <dgm:prSet/>
      <dgm:spPr/>
      <dgm:t>
        <a:bodyPr/>
        <a:lstStyle/>
        <a:p>
          <a:endParaRPr lang="en-US"/>
        </a:p>
      </dgm:t>
    </dgm:pt>
    <dgm:pt modelId="{9EFA00E3-3388-4221-92F9-B96C79451902}" type="sibTrans" cxnId="{5E7110D5-8DBA-49CD-9ABF-F789794B004D}">
      <dgm:prSet/>
      <dgm:spPr/>
      <dgm:t>
        <a:bodyPr/>
        <a:lstStyle/>
        <a:p>
          <a:endParaRPr lang="en-US"/>
        </a:p>
      </dgm:t>
    </dgm:pt>
    <dgm:pt modelId="{C56FF012-5D73-4521-8F7E-C3B728CCF9ED}">
      <dgm:prSet/>
      <dgm:spPr/>
      <dgm:t>
        <a:bodyPr/>
        <a:lstStyle/>
        <a:p>
          <a:r>
            <a:rPr lang="en-US"/>
            <a:t>Counseling for academic difficulties and academic strategies </a:t>
          </a:r>
        </a:p>
      </dgm:t>
    </dgm:pt>
    <dgm:pt modelId="{C756A3A8-836C-4345-B2D5-FAC69216DF3B}" type="parTrans" cxnId="{7B6B12BB-9C06-4D54-868F-F1A4A532FA01}">
      <dgm:prSet/>
      <dgm:spPr/>
      <dgm:t>
        <a:bodyPr/>
        <a:lstStyle/>
        <a:p>
          <a:endParaRPr lang="en-US"/>
        </a:p>
      </dgm:t>
    </dgm:pt>
    <dgm:pt modelId="{EAC51A3C-FBA2-4E06-B9EB-CD2AAD93ADED}" type="sibTrans" cxnId="{7B6B12BB-9C06-4D54-868F-F1A4A532FA01}">
      <dgm:prSet/>
      <dgm:spPr/>
      <dgm:t>
        <a:bodyPr/>
        <a:lstStyle/>
        <a:p>
          <a:endParaRPr lang="en-US"/>
        </a:p>
      </dgm:t>
    </dgm:pt>
    <dgm:pt modelId="{8BF4E57E-14EB-41E0-B52A-780973686F2B}">
      <dgm:prSet/>
      <dgm:spPr/>
      <dgm:t>
        <a:bodyPr/>
        <a:lstStyle/>
        <a:p>
          <a:r>
            <a:rPr lang="en-US"/>
            <a:t>Practicum</a:t>
          </a:r>
        </a:p>
      </dgm:t>
    </dgm:pt>
    <dgm:pt modelId="{E9151DDF-0D32-4233-B9BB-3232F451BF85}" type="parTrans" cxnId="{413C8B88-83A5-4350-88E0-335AAA894532}">
      <dgm:prSet/>
      <dgm:spPr/>
      <dgm:t>
        <a:bodyPr/>
        <a:lstStyle/>
        <a:p>
          <a:endParaRPr lang="en-US"/>
        </a:p>
      </dgm:t>
    </dgm:pt>
    <dgm:pt modelId="{E44424F4-D8FE-491F-BF54-0F20C43B2EC3}" type="sibTrans" cxnId="{413C8B88-83A5-4350-88E0-335AAA894532}">
      <dgm:prSet/>
      <dgm:spPr/>
      <dgm:t>
        <a:bodyPr/>
        <a:lstStyle/>
        <a:p>
          <a:endParaRPr lang="en-US"/>
        </a:p>
      </dgm:t>
    </dgm:pt>
    <dgm:pt modelId="{C0064A3B-73C4-4277-BCEE-4A8FF266AA72}" type="pres">
      <dgm:prSet presAssocID="{6E225E87-A856-450C-9EB4-DCABADA2E511}" presName="linear" presStyleCnt="0">
        <dgm:presLayoutVars>
          <dgm:animLvl val="lvl"/>
          <dgm:resizeHandles val="exact"/>
        </dgm:presLayoutVars>
      </dgm:prSet>
      <dgm:spPr/>
    </dgm:pt>
    <dgm:pt modelId="{A1B1CBD2-053A-4B00-9EBD-A7FABEE4928A}" type="pres">
      <dgm:prSet presAssocID="{74C46503-391D-418F-A978-8A789A5276E0}" presName="parentText" presStyleLbl="node1" presStyleIdx="0" presStyleCnt="8">
        <dgm:presLayoutVars>
          <dgm:chMax val="0"/>
          <dgm:bulletEnabled val="1"/>
        </dgm:presLayoutVars>
      </dgm:prSet>
      <dgm:spPr/>
    </dgm:pt>
    <dgm:pt modelId="{B477DD51-A8BC-491E-9043-A439F832571E}" type="pres">
      <dgm:prSet presAssocID="{817EE6F4-7765-444B-9206-2E9A25CD9647}" presName="spacer" presStyleCnt="0"/>
      <dgm:spPr/>
    </dgm:pt>
    <dgm:pt modelId="{102C75B4-42BE-4FFA-920D-A7E6F117EB10}" type="pres">
      <dgm:prSet presAssocID="{EF06530E-CBD9-4AD0-8885-CCD941C00862}" presName="parentText" presStyleLbl="node1" presStyleIdx="1" presStyleCnt="8">
        <dgm:presLayoutVars>
          <dgm:chMax val="0"/>
          <dgm:bulletEnabled val="1"/>
        </dgm:presLayoutVars>
      </dgm:prSet>
      <dgm:spPr/>
    </dgm:pt>
    <dgm:pt modelId="{B9DEC89D-F707-432D-8AC1-10FB1E33511D}" type="pres">
      <dgm:prSet presAssocID="{5D21EF4E-C1F6-4A64-BB5F-C6274536A5B5}" presName="spacer" presStyleCnt="0"/>
      <dgm:spPr/>
    </dgm:pt>
    <dgm:pt modelId="{5298D0D1-2A95-4359-ADB7-7F8725C6C6BD}" type="pres">
      <dgm:prSet presAssocID="{F19F60D1-7FFE-4A7D-942B-1C1FC68DB73B}" presName="parentText" presStyleLbl="node1" presStyleIdx="2" presStyleCnt="8">
        <dgm:presLayoutVars>
          <dgm:chMax val="0"/>
          <dgm:bulletEnabled val="1"/>
        </dgm:presLayoutVars>
      </dgm:prSet>
      <dgm:spPr/>
    </dgm:pt>
    <dgm:pt modelId="{F8C3F9AA-69BC-440B-9257-7781DADB6601}" type="pres">
      <dgm:prSet presAssocID="{D11E5C69-307D-4421-902B-C09359B93A79}" presName="spacer" presStyleCnt="0"/>
      <dgm:spPr/>
    </dgm:pt>
    <dgm:pt modelId="{FE3D99C8-7AA5-4A69-A889-7520A806F212}" type="pres">
      <dgm:prSet presAssocID="{64EEDD25-4C32-4434-B2F5-FB73D6E50B45}" presName="parentText" presStyleLbl="node1" presStyleIdx="3" presStyleCnt="8">
        <dgm:presLayoutVars>
          <dgm:chMax val="0"/>
          <dgm:bulletEnabled val="1"/>
        </dgm:presLayoutVars>
      </dgm:prSet>
      <dgm:spPr/>
    </dgm:pt>
    <dgm:pt modelId="{9DB2D4BF-FCCF-414C-AAFA-9DA627C7710B}" type="pres">
      <dgm:prSet presAssocID="{98A09A0A-C43E-4948-AD81-C8E50B19235E}" presName="spacer" presStyleCnt="0"/>
      <dgm:spPr/>
    </dgm:pt>
    <dgm:pt modelId="{547AF152-D19C-4FFC-BC92-63D8ED6E04DA}" type="pres">
      <dgm:prSet presAssocID="{B6093D2B-E334-4865-AB31-B7A1B0181375}" presName="parentText" presStyleLbl="node1" presStyleIdx="4" presStyleCnt="8">
        <dgm:presLayoutVars>
          <dgm:chMax val="0"/>
          <dgm:bulletEnabled val="1"/>
        </dgm:presLayoutVars>
      </dgm:prSet>
      <dgm:spPr/>
    </dgm:pt>
    <dgm:pt modelId="{AE0300C2-9E31-44C3-B363-FDE56F287718}" type="pres">
      <dgm:prSet presAssocID="{C98B9074-39A3-4BFD-90A5-635406676963}" presName="spacer" presStyleCnt="0"/>
      <dgm:spPr/>
    </dgm:pt>
    <dgm:pt modelId="{5EA82669-F8EC-4172-9AB1-2914A320BE52}" type="pres">
      <dgm:prSet presAssocID="{3E31F250-3EE7-4D73-A67C-A80D230B256A}" presName="parentText" presStyleLbl="node1" presStyleIdx="5" presStyleCnt="8">
        <dgm:presLayoutVars>
          <dgm:chMax val="0"/>
          <dgm:bulletEnabled val="1"/>
        </dgm:presLayoutVars>
      </dgm:prSet>
      <dgm:spPr/>
    </dgm:pt>
    <dgm:pt modelId="{46F06430-75E3-4220-8DFD-707FFEA96166}" type="pres">
      <dgm:prSet presAssocID="{9EFA00E3-3388-4221-92F9-B96C79451902}" presName="spacer" presStyleCnt="0"/>
      <dgm:spPr/>
    </dgm:pt>
    <dgm:pt modelId="{5056AE9B-8B5D-4FA4-941F-403F4EDFCA9A}" type="pres">
      <dgm:prSet presAssocID="{C56FF012-5D73-4521-8F7E-C3B728CCF9ED}" presName="parentText" presStyleLbl="node1" presStyleIdx="6" presStyleCnt="8">
        <dgm:presLayoutVars>
          <dgm:chMax val="0"/>
          <dgm:bulletEnabled val="1"/>
        </dgm:presLayoutVars>
      </dgm:prSet>
      <dgm:spPr/>
    </dgm:pt>
    <dgm:pt modelId="{D9847B89-E302-48C4-8DF6-A737BE309970}" type="pres">
      <dgm:prSet presAssocID="{EAC51A3C-FBA2-4E06-B9EB-CD2AAD93ADED}" presName="spacer" presStyleCnt="0"/>
      <dgm:spPr/>
    </dgm:pt>
    <dgm:pt modelId="{083F3B82-AA4D-4232-A225-57BF4FBDC5FF}" type="pres">
      <dgm:prSet presAssocID="{8BF4E57E-14EB-41E0-B52A-780973686F2B}" presName="parentText" presStyleLbl="node1" presStyleIdx="7" presStyleCnt="8">
        <dgm:presLayoutVars>
          <dgm:chMax val="0"/>
          <dgm:bulletEnabled val="1"/>
        </dgm:presLayoutVars>
      </dgm:prSet>
      <dgm:spPr/>
    </dgm:pt>
  </dgm:ptLst>
  <dgm:cxnLst>
    <dgm:cxn modelId="{19537103-C9A0-44EB-945A-0C547274FFB4}" type="presOf" srcId="{C56FF012-5D73-4521-8F7E-C3B728CCF9ED}" destId="{5056AE9B-8B5D-4FA4-941F-403F4EDFCA9A}" srcOrd="0" destOrd="0" presId="urn:microsoft.com/office/officeart/2005/8/layout/vList2"/>
    <dgm:cxn modelId="{1EC7E01A-9B8D-49CA-81EC-62D40FDC70E4}" type="presOf" srcId="{3E31F250-3EE7-4D73-A67C-A80D230B256A}" destId="{5EA82669-F8EC-4172-9AB1-2914A320BE52}" srcOrd="0" destOrd="0" presId="urn:microsoft.com/office/officeart/2005/8/layout/vList2"/>
    <dgm:cxn modelId="{53F6D51D-7D51-4A89-AD69-54E735A4608B}" type="presOf" srcId="{F19F60D1-7FFE-4A7D-942B-1C1FC68DB73B}" destId="{5298D0D1-2A95-4359-ADB7-7F8725C6C6BD}" srcOrd="0" destOrd="0" presId="urn:microsoft.com/office/officeart/2005/8/layout/vList2"/>
    <dgm:cxn modelId="{A2174237-B986-48FB-973F-5EEF52C337EE}" srcId="{6E225E87-A856-450C-9EB4-DCABADA2E511}" destId="{F19F60D1-7FFE-4A7D-942B-1C1FC68DB73B}" srcOrd="2" destOrd="0" parTransId="{E00C98E5-9690-40F8-A56A-BFF27D48EBC2}" sibTransId="{D11E5C69-307D-4421-902B-C09359B93A79}"/>
    <dgm:cxn modelId="{685B643B-1FB6-411A-BF8F-AB601DB60F7C}" type="presOf" srcId="{6E225E87-A856-450C-9EB4-DCABADA2E511}" destId="{C0064A3B-73C4-4277-BCEE-4A8FF266AA72}" srcOrd="0" destOrd="0" presId="urn:microsoft.com/office/officeart/2005/8/layout/vList2"/>
    <dgm:cxn modelId="{7B17C93C-C5AC-4EA0-A3B3-05DDC79868F3}" srcId="{6E225E87-A856-450C-9EB4-DCABADA2E511}" destId="{74C46503-391D-418F-A978-8A789A5276E0}" srcOrd="0" destOrd="0" parTransId="{FAC668E0-5A17-4FF0-A764-01F6B36549F0}" sibTransId="{817EE6F4-7765-444B-9206-2E9A25CD9647}"/>
    <dgm:cxn modelId="{5508985C-64DC-41DD-9471-B82806C71974}" srcId="{6E225E87-A856-450C-9EB4-DCABADA2E511}" destId="{EF06530E-CBD9-4AD0-8885-CCD941C00862}" srcOrd="1" destOrd="0" parTransId="{283FF122-461F-4A40-BEF3-8A33A1D6178A}" sibTransId="{5D21EF4E-C1F6-4A64-BB5F-C6274536A5B5}"/>
    <dgm:cxn modelId="{F7940966-03EE-47C6-A4EA-EFB0104C2AE7}" srcId="{6E225E87-A856-450C-9EB4-DCABADA2E511}" destId="{64EEDD25-4C32-4434-B2F5-FB73D6E50B45}" srcOrd="3" destOrd="0" parTransId="{0FA250B8-ED89-400E-9016-1558C3DF3B83}" sibTransId="{98A09A0A-C43E-4948-AD81-C8E50B19235E}"/>
    <dgm:cxn modelId="{F8B9C446-E470-4C9E-9103-864F389DBC56}" type="presOf" srcId="{B6093D2B-E334-4865-AB31-B7A1B0181375}" destId="{547AF152-D19C-4FFC-BC92-63D8ED6E04DA}" srcOrd="0" destOrd="0" presId="urn:microsoft.com/office/officeart/2005/8/layout/vList2"/>
    <dgm:cxn modelId="{98942148-34F5-4FE0-A955-78E20AA351DC}" type="presOf" srcId="{8BF4E57E-14EB-41E0-B52A-780973686F2B}" destId="{083F3B82-AA4D-4232-A225-57BF4FBDC5FF}" srcOrd="0" destOrd="0" presId="urn:microsoft.com/office/officeart/2005/8/layout/vList2"/>
    <dgm:cxn modelId="{930CC477-74B5-4005-9AAF-020EFCE78275}" type="presOf" srcId="{74C46503-391D-418F-A978-8A789A5276E0}" destId="{A1B1CBD2-053A-4B00-9EBD-A7FABEE4928A}" srcOrd="0" destOrd="0" presId="urn:microsoft.com/office/officeart/2005/8/layout/vList2"/>
    <dgm:cxn modelId="{413C8B88-83A5-4350-88E0-335AAA894532}" srcId="{6E225E87-A856-450C-9EB4-DCABADA2E511}" destId="{8BF4E57E-14EB-41E0-B52A-780973686F2B}" srcOrd="7" destOrd="0" parTransId="{E9151DDF-0D32-4233-B9BB-3232F451BF85}" sibTransId="{E44424F4-D8FE-491F-BF54-0F20C43B2EC3}"/>
    <dgm:cxn modelId="{560F0FAA-A5D7-4CDC-866D-2AE475190F44}" type="presOf" srcId="{64EEDD25-4C32-4434-B2F5-FB73D6E50B45}" destId="{FE3D99C8-7AA5-4A69-A889-7520A806F212}" srcOrd="0" destOrd="0" presId="urn:microsoft.com/office/officeart/2005/8/layout/vList2"/>
    <dgm:cxn modelId="{7DBB3DB4-42CD-442E-9AF9-D12F1730C248}" srcId="{6E225E87-A856-450C-9EB4-DCABADA2E511}" destId="{B6093D2B-E334-4865-AB31-B7A1B0181375}" srcOrd="4" destOrd="0" parTransId="{DD7C463B-0046-46E6-B941-642852378E98}" sibTransId="{C98B9074-39A3-4BFD-90A5-635406676963}"/>
    <dgm:cxn modelId="{7D680AB7-3572-4750-8DA4-D35B7DA1EA8A}" type="presOf" srcId="{EF06530E-CBD9-4AD0-8885-CCD941C00862}" destId="{102C75B4-42BE-4FFA-920D-A7E6F117EB10}" srcOrd="0" destOrd="0" presId="urn:microsoft.com/office/officeart/2005/8/layout/vList2"/>
    <dgm:cxn modelId="{7B6B12BB-9C06-4D54-868F-F1A4A532FA01}" srcId="{6E225E87-A856-450C-9EB4-DCABADA2E511}" destId="{C56FF012-5D73-4521-8F7E-C3B728CCF9ED}" srcOrd="6" destOrd="0" parTransId="{C756A3A8-836C-4345-B2D5-FAC69216DF3B}" sibTransId="{EAC51A3C-FBA2-4E06-B9EB-CD2AAD93ADED}"/>
    <dgm:cxn modelId="{5E7110D5-8DBA-49CD-9ABF-F789794B004D}" srcId="{6E225E87-A856-450C-9EB4-DCABADA2E511}" destId="{3E31F250-3EE7-4D73-A67C-A80D230B256A}" srcOrd="5" destOrd="0" parTransId="{38E4658B-A08C-4FCC-BA22-ADA523D81903}" sibTransId="{9EFA00E3-3388-4221-92F9-B96C79451902}"/>
    <dgm:cxn modelId="{C01902B9-6115-4560-A248-21F77C2F3980}" type="presParOf" srcId="{C0064A3B-73C4-4277-BCEE-4A8FF266AA72}" destId="{A1B1CBD2-053A-4B00-9EBD-A7FABEE4928A}" srcOrd="0" destOrd="0" presId="urn:microsoft.com/office/officeart/2005/8/layout/vList2"/>
    <dgm:cxn modelId="{2BD0D1FA-047F-4692-8EA3-400E58B476CF}" type="presParOf" srcId="{C0064A3B-73C4-4277-BCEE-4A8FF266AA72}" destId="{B477DD51-A8BC-491E-9043-A439F832571E}" srcOrd="1" destOrd="0" presId="urn:microsoft.com/office/officeart/2005/8/layout/vList2"/>
    <dgm:cxn modelId="{D5FBA65F-98BA-4DB8-9A41-0220BFF2332B}" type="presParOf" srcId="{C0064A3B-73C4-4277-BCEE-4A8FF266AA72}" destId="{102C75B4-42BE-4FFA-920D-A7E6F117EB10}" srcOrd="2" destOrd="0" presId="urn:microsoft.com/office/officeart/2005/8/layout/vList2"/>
    <dgm:cxn modelId="{A0076AFC-79E6-493F-BC67-BC06B8500B65}" type="presParOf" srcId="{C0064A3B-73C4-4277-BCEE-4A8FF266AA72}" destId="{B9DEC89D-F707-432D-8AC1-10FB1E33511D}" srcOrd="3" destOrd="0" presId="urn:microsoft.com/office/officeart/2005/8/layout/vList2"/>
    <dgm:cxn modelId="{1588A0F2-F533-49C1-B2BC-6F1657246916}" type="presParOf" srcId="{C0064A3B-73C4-4277-BCEE-4A8FF266AA72}" destId="{5298D0D1-2A95-4359-ADB7-7F8725C6C6BD}" srcOrd="4" destOrd="0" presId="urn:microsoft.com/office/officeart/2005/8/layout/vList2"/>
    <dgm:cxn modelId="{7CAAEA8F-5C0A-41A5-8A06-49A0B9E53C80}" type="presParOf" srcId="{C0064A3B-73C4-4277-BCEE-4A8FF266AA72}" destId="{F8C3F9AA-69BC-440B-9257-7781DADB6601}" srcOrd="5" destOrd="0" presId="urn:microsoft.com/office/officeart/2005/8/layout/vList2"/>
    <dgm:cxn modelId="{0F6B40E6-3E3B-4CBB-A25B-95D363E48592}" type="presParOf" srcId="{C0064A3B-73C4-4277-BCEE-4A8FF266AA72}" destId="{FE3D99C8-7AA5-4A69-A889-7520A806F212}" srcOrd="6" destOrd="0" presId="urn:microsoft.com/office/officeart/2005/8/layout/vList2"/>
    <dgm:cxn modelId="{C605442E-80F1-40CB-A54B-8DD30B709BDE}" type="presParOf" srcId="{C0064A3B-73C4-4277-BCEE-4A8FF266AA72}" destId="{9DB2D4BF-FCCF-414C-AAFA-9DA627C7710B}" srcOrd="7" destOrd="0" presId="urn:microsoft.com/office/officeart/2005/8/layout/vList2"/>
    <dgm:cxn modelId="{295A5104-4E2B-4645-92D1-A1A36112210E}" type="presParOf" srcId="{C0064A3B-73C4-4277-BCEE-4A8FF266AA72}" destId="{547AF152-D19C-4FFC-BC92-63D8ED6E04DA}" srcOrd="8" destOrd="0" presId="urn:microsoft.com/office/officeart/2005/8/layout/vList2"/>
    <dgm:cxn modelId="{1ADA7A4D-A44E-4389-A543-F6A5C644F233}" type="presParOf" srcId="{C0064A3B-73C4-4277-BCEE-4A8FF266AA72}" destId="{AE0300C2-9E31-44C3-B363-FDE56F287718}" srcOrd="9" destOrd="0" presId="urn:microsoft.com/office/officeart/2005/8/layout/vList2"/>
    <dgm:cxn modelId="{2FF9EE04-1BF8-4316-B02C-1721880B4A26}" type="presParOf" srcId="{C0064A3B-73C4-4277-BCEE-4A8FF266AA72}" destId="{5EA82669-F8EC-4172-9AB1-2914A320BE52}" srcOrd="10" destOrd="0" presId="urn:microsoft.com/office/officeart/2005/8/layout/vList2"/>
    <dgm:cxn modelId="{EBB0E69A-9AAF-48DE-9EB8-9C02F3F0CC03}" type="presParOf" srcId="{C0064A3B-73C4-4277-BCEE-4A8FF266AA72}" destId="{46F06430-75E3-4220-8DFD-707FFEA96166}" srcOrd="11" destOrd="0" presId="urn:microsoft.com/office/officeart/2005/8/layout/vList2"/>
    <dgm:cxn modelId="{F7B330BA-AAB6-4DA5-BC87-04CC0DD3F489}" type="presParOf" srcId="{C0064A3B-73C4-4277-BCEE-4A8FF266AA72}" destId="{5056AE9B-8B5D-4FA4-941F-403F4EDFCA9A}" srcOrd="12" destOrd="0" presId="urn:microsoft.com/office/officeart/2005/8/layout/vList2"/>
    <dgm:cxn modelId="{E49E6F72-4340-4751-B448-92341E93A1D6}" type="presParOf" srcId="{C0064A3B-73C4-4277-BCEE-4A8FF266AA72}" destId="{D9847B89-E302-48C4-8DF6-A737BE309970}" srcOrd="13" destOrd="0" presId="urn:microsoft.com/office/officeart/2005/8/layout/vList2"/>
    <dgm:cxn modelId="{6EB66F5B-9032-4DC6-A34B-BA73F4BC1FB1}" type="presParOf" srcId="{C0064A3B-73C4-4277-BCEE-4A8FF266AA72}" destId="{083F3B82-AA4D-4232-A225-57BF4FBDC5FF}"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DFC18A-51A7-4C87-B8C6-F1AF91A305F6}">
      <dsp:nvSpPr>
        <dsp:cNvPr id="0" name=""/>
        <dsp:cNvSpPr/>
      </dsp:nvSpPr>
      <dsp:spPr>
        <a:xfrm>
          <a:off x="0" y="0"/>
          <a:ext cx="8938260" cy="130540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Tier 3: PhD Program in School Counseling (in the future)</a:t>
          </a:r>
        </a:p>
      </dsp:txBody>
      <dsp:txXfrm>
        <a:off x="38234" y="38234"/>
        <a:ext cx="7529629" cy="1228933"/>
      </dsp:txXfrm>
    </dsp:sp>
    <dsp:sp modelId="{A177F217-6E3D-49AA-BDC6-FD8CBF2EF159}">
      <dsp:nvSpPr>
        <dsp:cNvPr id="0" name=""/>
        <dsp:cNvSpPr/>
      </dsp:nvSpPr>
      <dsp:spPr>
        <a:xfrm>
          <a:off x="788669" y="1522968"/>
          <a:ext cx="8938260" cy="130540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Tier 2: MA in School Counseling Program</a:t>
          </a:r>
        </a:p>
      </dsp:txBody>
      <dsp:txXfrm>
        <a:off x="826903" y="1561202"/>
        <a:ext cx="7224611" cy="1228933"/>
      </dsp:txXfrm>
    </dsp:sp>
    <dsp:sp modelId="{93E4BF0A-A74B-4C9B-8C79-3FBCF0E66D5A}">
      <dsp:nvSpPr>
        <dsp:cNvPr id="0" name=""/>
        <dsp:cNvSpPr/>
      </dsp:nvSpPr>
      <dsp:spPr>
        <a:xfrm>
          <a:off x="1577339" y="3045936"/>
          <a:ext cx="8938260" cy="130540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Tier 1: BA oriented in school counseling Program; Teacher certificated training program for school counseling (in-service teacher training courses)  </a:t>
          </a:r>
        </a:p>
      </dsp:txBody>
      <dsp:txXfrm>
        <a:off x="1615573" y="3084170"/>
        <a:ext cx="7224611" cy="1228933"/>
      </dsp:txXfrm>
    </dsp:sp>
    <dsp:sp modelId="{22EA50D5-A539-457D-8AC8-F37D9907AA73}">
      <dsp:nvSpPr>
        <dsp:cNvPr id="0" name=""/>
        <dsp:cNvSpPr/>
      </dsp:nvSpPr>
      <dsp:spPr>
        <a:xfrm>
          <a:off x="8089749" y="989929"/>
          <a:ext cx="848510" cy="848510"/>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8280664" y="989929"/>
        <a:ext cx="466680" cy="638504"/>
      </dsp:txXfrm>
    </dsp:sp>
    <dsp:sp modelId="{478FE1EE-0E0F-4E11-B954-3B4F49955D0A}">
      <dsp:nvSpPr>
        <dsp:cNvPr id="0" name=""/>
        <dsp:cNvSpPr/>
      </dsp:nvSpPr>
      <dsp:spPr>
        <a:xfrm>
          <a:off x="8878419" y="2504195"/>
          <a:ext cx="848510" cy="848510"/>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9069334" y="2504195"/>
        <a:ext cx="466680" cy="63850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B1CBD2-053A-4B00-9EBD-A7FABEE4928A}">
      <dsp:nvSpPr>
        <dsp:cNvPr id="0" name=""/>
        <dsp:cNvSpPr/>
      </dsp:nvSpPr>
      <dsp:spPr>
        <a:xfrm>
          <a:off x="0" y="101423"/>
          <a:ext cx="5661850" cy="7558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ntroduction to School Counseling&amp; Theories of Counseling</a:t>
          </a:r>
        </a:p>
      </dsp:txBody>
      <dsp:txXfrm>
        <a:off x="36896" y="138319"/>
        <a:ext cx="5588058" cy="682028"/>
      </dsp:txXfrm>
    </dsp:sp>
    <dsp:sp modelId="{102C75B4-42BE-4FFA-920D-A7E6F117EB10}">
      <dsp:nvSpPr>
        <dsp:cNvPr id="0" name=""/>
        <dsp:cNvSpPr/>
      </dsp:nvSpPr>
      <dsp:spPr>
        <a:xfrm>
          <a:off x="0" y="911963"/>
          <a:ext cx="5661850" cy="755820"/>
        </a:xfrm>
        <a:prstGeom prst="roundRect">
          <a:avLst/>
        </a:prstGeom>
        <a:solidFill>
          <a:schemeClr val="accent2">
            <a:hueOff val="-207909"/>
            <a:satOff val="-11990"/>
            <a:lumOff val="12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Assessment and case formulization </a:t>
          </a:r>
        </a:p>
      </dsp:txBody>
      <dsp:txXfrm>
        <a:off x="36896" y="948859"/>
        <a:ext cx="5588058" cy="682028"/>
      </dsp:txXfrm>
    </dsp:sp>
    <dsp:sp modelId="{5298D0D1-2A95-4359-ADB7-7F8725C6C6BD}">
      <dsp:nvSpPr>
        <dsp:cNvPr id="0" name=""/>
        <dsp:cNvSpPr/>
      </dsp:nvSpPr>
      <dsp:spPr>
        <a:xfrm>
          <a:off x="0" y="1722504"/>
          <a:ext cx="5661850" cy="755820"/>
        </a:xfrm>
        <a:prstGeom prst="roundRect">
          <a:avLst/>
        </a:prstGeom>
        <a:solidFill>
          <a:schemeClr val="accent2">
            <a:hueOff val="-415818"/>
            <a:satOff val="-23979"/>
            <a:lumOff val="24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General counseling skills</a:t>
          </a:r>
        </a:p>
      </dsp:txBody>
      <dsp:txXfrm>
        <a:off x="36896" y="1759400"/>
        <a:ext cx="5588058" cy="682028"/>
      </dsp:txXfrm>
    </dsp:sp>
    <dsp:sp modelId="{FE3D99C8-7AA5-4A69-A889-7520A806F212}">
      <dsp:nvSpPr>
        <dsp:cNvPr id="0" name=""/>
        <dsp:cNvSpPr/>
      </dsp:nvSpPr>
      <dsp:spPr>
        <a:xfrm>
          <a:off x="0" y="2533043"/>
          <a:ext cx="5661850" cy="755820"/>
        </a:xfrm>
        <a:prstGeom prst="roundRect">
          <a:avLst/>
        </a:prstGeom>
        <a:solidFill>
          <a:schemeClr val="accent2">
            <a:hueOff val="-623727"/>
            <a:satOff val="-35969"/>
            <a:lumOff val="36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Counseling for emotional and behavioral problems</a:t>
          </a:r>
        </a:p>
      </dsp:txBody>
      <dsp:txXfrm>
        <a:off x="36896" y="2569939"/>
        <a:ext cx="5588058" cy="682028"/>
      </dsp:txXfrm>
    </dsp:sp>
    <dsp:sp modelId="{547AF152-D19C-4FFC-BC92-63D8ED6E04DA}">
      <dsp:nvSpPr>
        <dsp:cNvPr id="0" name=""/>
        <dsp:cNvSpPr/>
      </dsp:nvSpPr>
      <dsp:spPr>
        <a:xfrm>
          <a:off x="0" y="3343583"/>
          <a:ext cx="5661850" cy="755820"/>
        </a:xfrm>
        <a:prstGeom prst="roundRect">
          <a:avLst/>
        </a:prstGeom>
        <a:solidFill>
          <a:schemeClr val="accent2">
            <a:hueOff val="-831636"/>
            <a:satOff val="-47959"/>
            <a:lumOff val="49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Career counseling and career development</a:t>
          </a:r>
        </a:p>
      </dsp:txBody>
      <dsp:txXfrm>
        <a:off x="36896" y="3380479"/>
        <a:ext cx="5588058" cy="682028"/>
      </dsp:txXfrm>
    </dsp:sp>
    <dsp:sp modelId="{5EA82669-F8EC-4172-9AB1-2914A320BE52}">
      <dsp:nvSpPr>
        <dsp:cNvPr id="0" name=""/>
        <dsp:cNvSpPr/>
      </dsp:nvSpPr>
      <dsp:spPr>
        <a:xfrm>
          <a:off x="0" y="4154124"/>
          <a:ext cx="5661850" cy="755820"/>
        </a:xfrm>
        <a:prstGeom prst="roundRect">
          <a:avLst/>
        </a:prstGeom>
        <a:solidFill>
          <a:schemeClr val="accent2">
            <a:hueOff val="-1039545"/>
            <a:satOff val="-59949"/>
            <a:lumOff val="616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Gender and reproductive health counseling</a:t>
          </a:r>
        </a:p>
      </dsp:txBody>
      <dsp:txXfrm>
        <a:off x="36896" y="4191020"/>
        <a:ext cx="5588058" cy="682028"/>
      </dsp:txXfrm>
    </dsp:sp>
    <dsp:sp modelId="{5056AE9B-8B5D-4FA4-941F-403F4EDFCA9A}">
      <dsp:nvSpPr>
        <dsp:cNvPr id="0" name=""/>
        <dsp:cNvSpPr/>
      </dsp:nvSpPr>
      <dsp:spPr>
        <a:xfrm>
          <a:off x="0" y="4964664"/>
          <a:ext cx="5661850" cy="755820"/>
        </a:xfrm>
        <a:prstGeom prst="roundRect">
          <a:avLst/>
        </a:prstGeom>
        <a:solidFill>
          <a:schemeClr val="accent2">
            <a:hueOff val="-1247454"/>
            <a:satOff val="-71938"/>
            <a:lumOff val="73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Counseling for academic difficulties and academic strategies </a:t>
          </a:r>
        </a:p>
      </dsp:txBody>
      <dsp:txXfrm>
        <a:off x="36896" y="5001560"/>
        <a:ext cx="5588058" cy="682028"/>
      </dsp:txXfrm>
    </dsp:sp>
    <dsp:sp modelId="{083F3B82-AA4D-4232-A225-57BF4FBDC5FF}">
      <dsp:nvSpPr>
        <dsp:cNvPr id="0" name=""/>
        <dsp:cNvSpPr/>
      </dsp:nvSpPr>
      <dsp:spPr>
        <a:xfrm>
          <a:off x="0" y="5775204"/>
          <a:ext cx="5661850" cy="755820"/>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Practicum</a:t>
          </a:r>
        </a:p>
      </dsp:txBody>
      <dsp:txXfrm>
        <a:off x="36896" y="5812100"/>
        <a:ext cx="5588058" cy="682028"/>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A102F7D-A57B-44D3-997F-E97A8F30B1F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F2A4EE6-4340-4E50-BC4A-31A7D1AE96A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253CA4F-4230-4A5B-AFB2-498D08046188}" type="datetimeFigureOut">
              <a:rPr lang="en-US" smtClean="0"/>
              <a:t>6/5/2019</a:t>
            </a:fld>
            <a:endParaRPr lang="en-US"/>
          </a:p>
        </p:txBody>
      </p:sp>
      <p:sp>
        <p:nvSpPr>
          <p:cNvPr id="4" name="Footer Placeholder 3">
            <a:extLst>
              <a:ext uri="{FF2B5EF4-FFF2-40B4-BE49-F238E27FC236}">
                <a16:creationId xmlns:a16="http://schemas.microsoft.com/office/drawing/2014/main" id="{1DA05549-2404-4D3C-B887-093C04DDBC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C97BB19-5647-4C1A-AB08-A69FEA0B7C0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648B6E2-95C2-4D02-A5B0-A91B0C0D4AAE}" type="slidenum">
              <a:rPr lang="en-US" smtClean="0"/>
              <a:t>‹#›</a:t>
            </a:fld>
            <a:endParaRPr lang="en-US"/>
          </a:p>
        </p:txBody>
      </p:sp>
    </p:spTree>
    <p:extLst>
      <p:ext uri="{BB962C8B-B14F-4D97-AF65-F5344CB8AC3E}">
        <p14:creationId xmlns:p14="http://schemas.microsoft.com/office/powerpoint/2010/main" val="37722698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3F2A11-7972-4EA0-9CEC-65CDCD405F5D}" type="datetimeFigureOut">
              <a:rPr lang="en-US" smtClean="0"/>
              <a:t>6/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B2FD3D-8990-47E1-AA28-D97084DC9846}" type="slidenum">
              <a:rPr lang="en-US" smtClean="0"/>
              <a:t>‹#›</a:t>
            </a:fld>
            <a:endParaRPr lang="en-US"/>
          </a:p>
        </p:txBody>
      </p:sp>
    </p:spTree>
    <p:extLst>
      <p:ext uri="{BB962C8B-B14F-4D97-AF65-F5344CB8AC3E}">
        <p14:creationId xmlns:p14="http://schemas.microsoft.com/office/powerpoint/2010/main" val="571478041"/>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88817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endParaRPr lang="de-DE" sz="900" dirty="0"/>
          </a:p>
        </p:txBody>
      </p:sp>
    </p:spTree>
    <p:extLst>
      <p:ext uri="{BB962C8B-B14F-4D97-AF65-F5344CB8AC3E}">
        <p14:creationId xmlns:p14="http://schemas.microsoft.com/office/powerpoint/2010/main" val="347707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517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Chỉ</a:t>
            </a:r>
            <a:r>
              <a:rPr lang="en-US" b="1" dirty="0"/>
              <a:t> </a:t>
            </a:r>
            <a:r>
              <a:rPr lang="en-US" b="1" dirty="0" err="1"/>
              <a:t>làm</a:t>
            </a:r>
            <a:r>
              <a:rPr lang="en-US" b="1" dirty="0"/>
              <a:t> đ</a:t>
            </a:r>
            <a:r>
              <a:rPr lang="vi-VN" b="1" dirty="0"/>
              <a:t>ư</a:t>
            </a:r>
            <a:r>
              <a:rPr lang="en-US" b="1" dirty="0" err="1"/>
              <a:t>ợc</a:t>
            </a:r>
            <a:r>
              <a:rPr lang="en-US" b="1" dirty="0"/>
              <a:t> </a:t>
            </a:r>
            <a:r>
              <a:rPr lang="en-US" b="1" dirty="0" err="1"/>
              <a:t>tầng</a:t>
            </a:r>
            <a:r>
              <a:rPr lang="en-US" b="1" dirty="0"/>
              <a:t> 1: </a:t>
            </a:r>
            <a:r>
              <a:rPr lang="vi-VN" dirty="0"/>
              <a:t>Đội ngũ làm công tác tư vấn tâm lý trong nhà trường chủ yếu là giảng viên một số chuyên ngành như Luật, Tâm lý, Ngữ văn, Giáo dục công dân; một số là giáo viên dạy Lịch sử và Địa lí, các cán bộ chuyên trách các phòng ban như phòng Công tác HSSV, Đoàn Thanh niên, Hội Sinh viên,…</a:t>
            </a:r>
            <a:endParaRPr lang="en-US" dirty="0"/>
          </a:p>
          <a:p>
            <a:r>
              <a:rPr lang="es-ES" sz="1200" kern="1200" dirty="0" err="1">
                <a:solidFill>
                  <a:schemeClr val="tx1"/>
                </a:solidFill>
                <a:effectLst/>
                <a:latin typeface="+mn-lt"/>
                <a:ea typeface="+mn-ea"/>
                <a:cs typeface="+mn-cs"/>
              </a:rPr>
              <a:t>Tư</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vấ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của</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cố</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vấ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học</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ập</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giáo</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viê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chủ</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nhiệm</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giáo</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viê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giảng</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viê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bộ</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mô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báo</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cáo</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chuyê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đề</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hội</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hảo</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hi</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ìm</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hiểu</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sáng</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ác</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giao</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lưu</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ình</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nguyệ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ư</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vấ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rực</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uyế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đã</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bước</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đầu</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hình</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hành</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ổ</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chức</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ư</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vấn</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âm</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lý</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rong</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nhà</a:t>
            </a:r>
            <a:r>
              <a:rPr lang="es-ES" sz="1200" kern="1200" dirty="0">
                <a:solidFill>
                  <a:schemeClr val="tx1"/>
                </a:solidFill>
                <a:effectLst/>
                <a:latin typeface="+mn-lt"/>
                <a:ea typeface="+mn-ea"/>
                <a:cs typeface="+mn-cs"/>
              </a:rPr>
              <a:t> </a:t>
            </a:r>
            <a:r>
              <a:rPr lang="es-ES" sz="1200" kern="1200" dirty="0" err="1">
                <a:solidFill>
                  <a:schemeClr val="tx1"/>
                </a:solidFill>
                <a:effectLst/>
                <a:latin typeface="+mn-lt"/>
                <a:ea typeface="+mn-ea"/>
                <a:cs typeface="+mn-cs"/>
              </a:rPr>
              <a:t>trường</a:t>
            </a:r>
            <a:r>
              <a:rPr lang="es-E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Đề</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uấ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ồi</a:t>
            </a:r>
            <a:r>
              <a:rPr lang="en-US" sz="1200" kern="1200" dirty="0">
                <a:solidFill>
                  <a:schemeClr val="tx1"/>
                </a:solidFill>
                <a:effectLst/>
                <a:latin typeface="+mn-lt"/>
                <a:ea typeface="+mn-ea"/>
                <a:cs typeface="+mn-cs"/>
              </a:rPr>
              <a:t> d</a:t>
            </a:r>
            <a:r>
              <a:rPr lang="vi-VN" sz="1200" kern="1200" dirty="0">
                <a:solidFill>
                  <a:schemeClr val="tx1"/>
                </a:solidFill>
                <a:effectLst/>
                <a:latin typeface="+mn-lt"/>
                <a:ea typeface="+mn-ea"/>
                <a:cs typeface="+mn-cs"/>
              </a:rPr>
              <a:t>ư</a:t>
            </a:r>
            <a:r>
              <a:rPr lang="en-US" sz="1200" kern="1200" dirty="0" err="1">
                <a:solidFill>
                  <a:schemeClr val="tx1"/>
                </a:solidFill>
                <a:effectLst/>
                <a:latin typeface="+mn-lt"/>
                <a:ea typeface="+mn-ea"/>
                <a:cs typeface="+mn-cs"/>
              </a:rPr>
              <a:t>ỡ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ầng</a:t>
            </a:r>
            <a:r>
              <a:rPr lang="en-US" sz="1200" kern="1200" dirty="0">
                <a:solidFill>
                  <a:schemeClr val="tx1"/>
                </a:solidFill>
                <a:effectLst/>
                <a:latin typeface="+mn-lt"/>
                <a:ea typeface="+mn-ea"/>
                <a:cs typeface="+mn-cs"/>
              </a:rPr>
              <a:t> 1 (</a:t>
            </a:r>
            <a:r>
              <a:rPr lang="en-US" sz="1200" kern="1200" dirty="0" err="1">
                <a:solidFill>
                  <a:schemeClr val="tx1"/>
                </a:solidFill>
                <a:effectLst/>
                <a:latin typeface="+mn-lt"/>
                <a:ea typeface="+mn-ea"/>
                <a:cs typeface="+mn-cs"/>
              </a:rPr>
              <a:t>từ</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ộ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gũ</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v</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ó</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ẵn</a:t>
            </a:r>
            <a:r>
              <a:rPr lang="en-US" sz="1200" kern="1200" dirty="0">
                <a:solidFill>
                  <a:schemeClr val="tx1"/>
                </a:solidFill>
                <a:effectLst/>
                <a:latin typeface="+mn-lt"/>
                <a:ea typeface="+mn-ea"/>
                <a:cs typeface="+mn-cs"/>
              </a:rPr>
              <a:t>)</a:t>
            </a:r>
          </a:p>
          <a:p>
            <a:r>
              <a:rPr lang="en-US" sz="1200" kern="1200" dirty="0" err="1">
                <a:solidFill>
                  <a:schemeClr val="tx1"/>
                </a:solidFill>
                <a:effectLst/>
                <a:latin typeface="+mn-lt"/>
                <a:ea typeface="+mn-ea"/>
                <a:cs typeface="+mn-cs"/>
              </a:rPr>
              <a:t>ThS</a:t>
            </a:r>
            <a:r>
              <a:rPr lang="en-US" sz="1200" kern="1200" dirty="0">
                <a:solidFill>
                  <a:schemeClr val="tx1"/>
                </a:solidFill>
                <a:effectLst/>
                <a:latin typeface="+mn-lt"/>
                <a:ea typeface="+mn-ea"/>
                <a:cs typeface="+mn-cs"/>
              </a:rPr>
              <a:t> TVHĐ </a:t>
            </a:r>
            <a:r>
              <a:rPr lang="en-US" sz="1200" kern="1200" dirty="0" err="1">
                <a:solidFill>
                  <a:schemeClr val="tx1"/>
                </a:solidFill>
                <a:effectLst/>
                <a:latin typeface="+mn-lt"/>
                <a:ea typeface="+mn-ea"/>
                <a:cs typeface="+mn-cs"/>
              </a:rPr>
              <a:t>ch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ầng</a:t>
            </a:r>
            <a:r>
              <a:rPr lang="en-US" sz="1200" kern="1200" dirty="0">
                <a:solidFill>
                  <a:schemeClr val="tx1"/>
                </a:solidFill>
                <a:effectLst/>
                <a:latin typeface="+mn-lt"/>
                <a:ea typeface="+mn-ea"/>
                <a:cs typeface="+mn-cs"/>
              </a:rPr>
              <a:t> 2 (</a:t>
            </a:r>
            <a:r>
              <a:rPr lang="en-US" sz="1200" kern="1200" dirty="0" err="1">
                <a:solidFill>
                  <a:schemeClr val="tx1"/>
                </a:solidFill>
                <a:effectLst/>
                <a:latin typeface="+mn-lt"/>
                <a:ea typeface="+mn-ea"/>
                <a:cs typeface="+mn-cs"/>
              </a:rPr>
              <a:t>cá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a:t>
            </a:r>
            <a:r>
              <a:rPr lang="vi-VN" sz="1200" kern="1200" dirty="0">
                <a:solidFill>
                  <a:schemeClr val="tx1"/>
                </a:solidFill>
                <a:effectLst/>
                <a:latin typeface="+mn-lt"/>
                <a:ea typeface="+mn-ea"/>
                <a:cs typeface="+mn-cs"/>
              </a:rPr>
              <a:t>ư</a:t>
            </a:r>
            <a:r>
              <a:rPr lang="en-US" sz="1200" kern="1200" dirty="0" err="1">
                <a:solidFill>
                  <a:schemeClr val="tx1"/>
                </a:solidFill>
                <a:effectLst/>
                <a:latin typeface="+mn-lt"/>
                <a:ea typeface="+mn-ea"/>
                <a:cs typeface="+mn-cs"/>
              </a:rPr>
              <a:t>ơ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ì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à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ạ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í</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iểm</a:t>
            </a:r>
            <a:r>
              <a:rPr lang="en-US" sz="1200" kern="1200" dirty="0">
                <a:solidFill>
                  <a:schemeClr val="tx1"/>
                </a:solidFill>
                <a:effectLst/>
                <a:latin typeface="+mn-lt"/>
                <a:ea typeface="+mn-ea"/>
                <a:cs typeface="+mn-cs"/>
              </a:rPr>
              <a:t>)</a:t>
            </a:r>
          </a:p>
          <a:p>
            <a:r>
              <a:rPr lang="en-US" sz="1200" kern="1200" dirty="0" err="1">
                <a:solidFill>
                  <a:schemeClr val="tx1"/>
                </a:solidFill>
                <a:effectLst/>
                <a:latin typeface="+mn-lt"/>
                <a:ea typeface="+mn-ea"/>
                <a:cs typeface="+mn-cs"/>
              </a:rPr>
              <a:t>ThS</a:t>
            </a:r>
            <a:r>
              <a:rPr lang="en-US" sz="1200" kern="1200" dirty="0">
                <a:solidFill>
                  <a:schemeClr val="tx1"/>
                </a:solidFill>
                <a:effectLst/>
                <a:latin typeface="+mn-lt"/>
                <a:ea typeface="+mn-ea"/>
                <a:cs typeface="+mn-cs"/>
              </a:rPr>
              <a:t> và TS </a:t>
            </a:r>
            <a:r>
              <a:rPr lang="en-US" sz="1200" kern="1200" dirty="0" err="1">
                <a:solidFill>
                  <a:schemeClr val="tx1"/>
                </a:solidFill>
                <a:effectLst/>
                <a:latin typeface="+mn-lt"/>
                <a:ea typeface="+mn-ea"/>
                <a:cs typeface="+mn-cs"/>
              </a:rPr>
              <a:t>Tâ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ý</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ọ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â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à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ầng</a:t>
            </a:r>
            <a:r>
              <a:rPr lang="en-US" sz="1200" kern="1200" dirty="0">
                <a:solidFill>
                  <a:schemeClr val="tx1"/>
                </a:solidFill>
                <a:effectLst/>
                <a:latin typeface="+mn-lt"/>
                <a:ea typeface="+mn-ea"/>
                <a:cs typeface="+mn-cs"/>
              </a:rPr>
              <a:t> 3.</a:t>
            </a:r>
          </a:p>
          <a:p>
            <a:r>
              <a:rPr lang="en-US" sz="1200" kern="1200" dirty="0">
                <a:solidFill>
                  <a:schemeClr val="tx1"/>
                </a:solidFill>
                <a:effectLst/>
                <a:latin typeface="+mn-lt"/>
                <a:ea typeface="+mn-ea"/>
                <a:cs typeface="+mn-cs"/>
              </a:rPr>
              <a:t>ĐHGD </a:t>
            </a:r>
            <a:r>
              <a:rPr lang="en-US" sz="1200" kern="1200" dirty="0" err="1">
                <a:solidFill>
                  <a:schemeClr val="tx1"/>
                </a:solidFill>
                <a:effectLst/>
                <a:latin typeface="+mn-lt"/>
                <a:ea typeface="+mn-ea"/>
                <a:cs typeface="+mn-cs"/>
              </a:rPr>
              <a:t>có</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ả</a:t>
            </a:r>
            <a:r>
              <a:rPr lang="en-US" sz="1200" kern="1200" dirty="0">
                <a:solidFill>
                  <a:schemeClr val="tx1"/>
                </a:solidFill>
                <a:effectLst/>
                <a:latin typeface="+mn-lt"/>
                <a:ea typeface="+mn-ea"/>
                <a:cs typeface="+mn-cs"/>
              </a:rPr>
              <a:t>.</a:t>
            </a:r>
            <a:endParaRPr lang="es-E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61505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now have a training program in Child &amp; Adolescent Clinical Psycholog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Tree>
    <p:extLst>
      <p:ext uri="{BB962C8B-B14F-4D97-AF65-F5344CB8AC3E}">
        <p14:creationId xmlns:p14="http://schemas.microsoft.com/office/powerpoint/2010/main" val="1775859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Times New Roman" panose="02020603050405020304" pitchFamily="18" charset="0"/>
                <a:cs typeface="Times New Roman" panose="02020603050405020304" pitchFamily="18" charset="0"/>
              </a:rPr>
              <a:t>Ex., VNU- University of Education courses in program &amp; Professional Standards (ISPA &amp; CACREP)</a:t>
            </a:r>
          </a:p>
          <a:p>
            <a:endParaRPr lang="en-US" dirty="0"/>
          </a:p>
        </p:txBody>
      </p:sp>
    </p:spTree>
    <p:extLst>
      <p:ext uri="{BB962C8B-B14F-4D97-AF65-F5344CB8AC3E}">
        <p14:creationId xmlns:p14="http://schemas.microsoft.com/office/powerpoint/2010/main" val="2368755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ompare courses of School counseling programs in different school </a:t>
            </a:r>
          </a:p>
        </p:txBody>
      </p:sp>
    </p:spTree>
    <p:extLst>
      <p:ext uri="{BB962C8B-B14F-4D97-AF65-F5344CB8AC3E}">
        <p14:creationId xmlns:p14="http://schemas.microsoft.com/office/powerpoint/2010/main" val="809076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ompare courses of different training program (School counseling, School social work and School Psychology) </a:t>
            </a:r>
          </a:p>
        </p:txBody>
      </p:sp>
    </p:spTree>
    <p:extLst>
      <p:ext uri="{BB962C8B-B14F-4D97-AF65-F5344CB8AC3E}">
        <p14:creationId xmlns:p14="http://schemas.microsoft.com/office/powerpoint/2010/main" val="3114575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 </a:t>
            </a:r>
            <a:r>
              <a:rPr lang="en-US" sz="1200" b="0" i="1" kern="1200" dirty="0">
                <a:solidFill>
                  <a:schemeClr val="tx1"/>
                </a:solidFill>
                <a:effectLst/>
                <a:latin typeface="+mn-lt"/>
                <a:ea typeface="+mn-ea"/>
                <a:cs typeface="+mn-cs"/>
              </a:rPr>
              <a:t>The 10 Most Popular Psychological Tests and the 10 Most Popular Topics Taught in School Counseling Programs</a:t>
            </a:r>
          </a:p>
          <a:p>
            <a:r>
              <a:rPr lang="en-US" dirty="0"/>
              <a:t>The course need greater training in assessment that is relevant to Evidence Based Practice (EBP)</a:t>
            </a:r>
            <a:br>
              <a:rPr lang="en-US" dirty="0"/>
            </a:br>
            <a:endParaRPr lang="en-US" dirty="0"/>
          </a:p>
        </p:txBody>
      </p:sp>
    </p:spTree>
    <p:extLst>
      <p:ext uri="{BB962C8B-B14F-4D97-AF65-F5344CB8AC3E}">
        <p14:creationId xmlns:p14="http://schemas.microsoft.com/office/powerpoint/2010/main" val="1656335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uterized adaptive testing </a:t>
            </a:r>
          </a:p>
        </p:txBody>
      </p:sp>
    </p:spTree>
    <p:extLst>
      <p:ext uri="{BB962C8B-B14F-4D97-AF65-F5344CB8AC3E}">
        <p14:creationId xmlns:p14="http://schemas.microsoft.com/office/powerpoint/2010/main" val="5930203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F38082-41FE-47FF-B797-BCF51B2E1ED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F0DFE62-5C8C-44AD-B191-C8E94726F8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4BD7DCF-6AD7-454A-9E0A-4D7AE4829800}"/>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31880D54-1596-4E4C-A33A-798E8170B7F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7B5E43A-775B-4D08-9F44-1CEAC4CA17E0}"/>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523696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E3FEA5-9079-4FB6-BBF4-1CA54F8F7F1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747577F-A534-4D4B-BFDA-F4CCE1A1F14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CE5E1A-2A20-4657-8AC8-87ADE189DE54}"/>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532BACB0-C73B-4873-A54A-E5A9B6F4E6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4D64D7-E89F-4DE0-81C9-1D16DA083212}"/>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38445530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9557F2C-94A0-4476-B386-5953941B465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6E1C60-AC80-423B-84AF-2539986C3AE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BA5732-80E9-47A9-9DD9-C8134B7922D9}"/>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8A23AF97-72DD-43AC-8F96-CC6AE6C6D5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DE90A7-866D-418F-9A61-47DE830BFC07}"/>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3894190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919D8-0CBC-4F33-9567-5C30441968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C6E831-85CC-473B-B6B5-085787379F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02AA03-EA80-4519-B5B2-A9B5B17E5602}"/>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14290634-1E68-49B7-9A73-DA26E8758F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8BFA22-763B-42BC-A5A8-0157164F0AAF}"/>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11061805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E3A12-A640-4D59-92AD-26257D55D3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A4447A0-2EC8-4914-A2CA-976BF00123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D34D9F1-3C64-4D31-B8B0-95C198E67C59}"/>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0E8B5CD0-55CA-408B-A6AD-E3360D78A4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DA3C2C-7C85-4AA2-A5CC-5299B15FE4B5}"/>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5346064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625A2-F0E0-4BD6-AA09-9BADC2F9A7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529521-96D6-4CD1-BD7F-012A33E2B79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0501F14-F8A0-49F6-8268-09BE7B4DE49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8005F14-E141-4F61-8278-871A410B9FB9}"/>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1928AA8F-FE07-4921-8F53-40697A84B9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7FAF79-597D-404A-8FC9-E54F5E55F5C6}"/>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3334540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C0613-4DDC-4327-A1BE-DEFEFC13B0C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92AA8FF-9EFC-49A5-BE20-CD2BE33110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2E7107C-8774-4557-A333-72CB4F270A1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0E7374-7067-4DA0-9753-A562DE199DA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671CFCA-5640-4733-ACCA-CF45B9F2B7D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7D4FB13-75AD-4FD9-A3B0-0F5AE31B85CA}"/>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C0C26E5E-7731-48FD-B9B9-87551DDFA4C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8B2759-EFC3-4270-B592-9016E7A53C17}"/>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1512120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929FB-C584-4869-AEF1-FAA4A9D773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F5E052-A067-4B9F-8457-1290D81996B9}"/>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C38F0098-FC1B-4E7C-87CB-2449A81A4F6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5CDAA16-98FD-4DA7-A758-179C57D637F9}"/>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35060619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3B15C3-C2CC-48D7-8A2D-8B55DC0C4534}"/>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2E6ED5AE-8EDE-4F89-8A29-70099FBA18F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D1B0359-7573-44B4-8621-513316CD0095}"/>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4394601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62925-D0D8-44E4-B821-89F4E96C578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19E2D7B-DD60-4CD5-9407-49876FA1BDF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A143FBB-6A44-424F-8903-B7019078F8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B9EA298-4796-4488-B17C-185EBC3ABBEB}"/>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3646FD7-47A7-4B36-931E-92805822E2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AC407A-5360-43DE-A676-98FED52250CD}"/>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1564648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2A75F-F8F5-4FBD-822D-E04AC2ED44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546B8C-D009-4023-8FDE-47E3B9B68BD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89CC148-26DE-4FDC-9EC5-DAFBDDDE41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B506AC9-0818-46A4-8CC5-6C9D3D49100C}"/>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782CA046-4E4C-48DD-A209-11F101A5B6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15B32F-92D3-4060-B51F-8B64A939D35B}"/>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666245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B872B71-D784-4E1A-BF3A-7D101DB309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EA4AC2-10DB-4CDE-BB97-8E5A71CC9C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DDC27E-0903-4298-935E-22FD5F73A0B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F3A03071-6D70-4335-8875-8D4F0CD4E9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7AAA6E5-C06C-4552-817C-B62BEEA8CF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A50C06-BA1A-4B2B-B3D4-061C2BFC50DF}" type="slidenum">
              <a:rPr lang="en-US" smtClean="0"/>
              <a:t>‹#›</a:t>
            </a:fld>
            <a:endParaRPr lang="en-US"/>
          </a:p>
        </p:txBody>
      </p:sp>
    </p:spTree>
    <p:extLst>
      <p:ext uri="{BB962C8B-B14F-4D97-AF65-F5344CB8AC3E}">
        <p14:creationId xmlns:p14="http://schemas.microsoft.com/office/powerpoint/2010/main" val="41110039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package" Target="../embeddings/Microsoft_Word_Document.docx"/></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image" Target="../media/image12.emf"/></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emf"/><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image" Target="../media/image21.jpeg"/><Relationship Id="rId4" Type="http://schemas.openxmlformats.org/officeDocument/2006/relationships/notesSlide" Target="../notesSlides/notesSlide10.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jpe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0"/>
            <a:ext cx="12271238" cy="6858000"/>
          </a:xfrm>
          <a:prstGeom prst="rect">
            <a:avLst/>
          </a:prstGeom>
        </p:spPr>
      </p:pic>
      <p:sp>
        <p:nvSpPr>
          <p:cNvPr id="5" name="Rectangle 4">
            <a:extLst>
              <a:ext uri="{FF2B5EF4-FFF2-40B4-BE49-F238E27FC236}">
                <a16:creationId xmlns:a16="http://schemas.microsoft.com/office/drawing/2014/main" id="{27483AC1-6216-4D84-A054-23453785D3C5}"/>
              </a:ext>
            </a:extLst>
          </p:cNvPr>
          <p:cNvSpPr/>
          <p:nvPr/>
        </p:nvSpPr>
        <p:spPr>
          <a:xfrm>
            <a:off x="0" y="0"/>
            <a:ext cx="12271239" cy="6858000"/>
          </a:xfrm>
          <a:prstGeom prst="rect">
            <a:avLst/>
          </a:prstGeom>
          <a:solidFill>
            <a:schemeClr val="tx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06271" y="728366"/>
            <a:ext cx="11536323" cy="2585323"/>
          </a:xfrm>
          <a:prstGeom prst="rect">
            <a:avLst/>
          </a:prstGeom>
        </p:spPr>
        <p:txBody>
          <a:bodyPr wrap="square">
            <a:spAutoFit/>
          </a:bodyPr>
          <a:lstStyle/>
          <a:p>
            <a:pPr algn="ctr"/>
            <a:r>
              <a:rPr lang="en-US" sz="5400" b="1" dirty="0">
                <a:solidFill>
                  <a:schemeClr val="bg1"/>
                </a:solidFill>
                <a:latin typeface="Fira Sans"/>
                <a:ea typeface="Fira Sans" charset="0"/>
                <a:cs typeface="Calibri" panose="020F0502020204030204" pitchFamily="34" charset="0"/>
              </a:rPr>
              <a:t>Development of a training program in School Counseling at VNU - University of Education</a:t>
            </a:r>
            <a:endParaRPr lang="de-DE" sz="5400" b="1" dirty="0">
              <a:solidFill>
                <a:schemeClr val="bg1"/>
              </a:solidFill>
              <a:latin typeface="Fira Sans"/>
              <a:ea typeface="Fira Sans" charset="0"/>
              <a:cs typeface="Calibri" panose="020F0502020204030204" pitchFamily="34" charset="0"/>
            </a:endParaRPr>
          </a:p>
        </p:txBody>
      </p:sp>
      <p:pic>
        <p:nvPicPr>
          <p:cNvPr id="27" name="Picture 26">
            <a:extLst>
              <a:ext uri="{FF2B5EF4-FFF2-40B4-BE49-F238E27FC236}">
                <a16:creationId xmlns:a16="http://schemas.microsoft.com/office/drawing/2014/main" id="{07951DA7-6675-4DFA-B525-9DF15B76A699}"/>
              </a:ext>
            </a:extLst>
          </p:cNvPr>
          <p:cNvPicPr>
            <a:picLocks noChangeAspect="1"/>
          </p:cNvPicPr>
          <p:nvPr/>
        </p:nvPicPr>
        <p:blipFill rotWithShape="1">
          <a:blip r:embed="rId4"/>
          <a:srcRect l="26110" t="13324" r="27024" b="52539"/>
          <a:stretch/>
        </p:blipFill>
        <p:spPr>
          <a:xfrm>
            <a:off x="3656320" y="3545794"/>
            <a:ext cx="1855641" cy="2024336"/>
          </a:xfrm>
          <a:prstGeom prst="rect">
            <a:avLst/>
          </a:prstGeom>
        </p:spPr>
      </p:pic>
      <p:sp>
        <p:nvSpPr>
          <p:cNvPr id="28" name="Rectangle 27">
            <a:extLst>
              <a:ext uri="{FF2B5EF4-FFF2-40B4-BE49-F238E27FC236}">
                <a16:creationId xmlns:a16="http://schemas.microsoft.com/office/drawing/2014/main" id="{4994F7DC-1F87-4029-9690-DBF164FE1ED9}"/>
              </a:ext>
            </a:extLst>
          </p:cNvPr>
          <p:cNvSpPr/>
          <p:nvPr/>
        </p:nvSpPr>
        <p:spPr>
          <a:xfrm>
            <a:off x="2610465" y="5580116"/>
            <a:ext cx="3834580" cy="369332"/>
          </a:xfrm>
          <a:prstGeom prst="rect">
            <a:avLst/>
          </a:prstGeom>
        </p:spPr>
        <p:txBody>
          <a:bodyPr wrap="square">
            <a:spAutoFit/>
          </a:bodyPr>
          <a:lstStyle/>
          <a:p>
            <a:pPr algn="ctr"/>
            <a:r>
              <a:rPr lang="en-US" b="1" dirty="0">
                <a:solidFill>
                  <a:schemeClr val="bg1"/>
                </a:solidFill>
                <a:latin typeface="Calibri" panose="020F0502020204030204" pitchFamily="34" charset="0"/>
                <a:ea typeface="Calibri" panose="020F0502020204030204" pitchFamily="34" charset="0"/>
              </a:rPr>
              <a:t>NAM TRAN</a:t>
            </a:r>
            <a:endParaRPr lang="en-US" b="1" dirty="0">
              <a:solidFill>
                <a:schemeClr val="bg1"/>
              </a:solidFill>
            </a:endParaRPr>
          </a:p>
        </p:txBody>
      </p:sp>
      <p:sp>
        <p:nvSpPr>
          <p:cNvPr id="29" name="Rectangle 28">
            <a:extLst>
              <a:ext uri="{FF2B5EF4-FFF2-40B4-BE49-F238E27FC236}">
                <a16:creationId xmlns:a16="http://schemas.microsoft.com/office/drawing/2014/main" id="{282DA525-4DA3-4D54-8B13-8BC9A2B88C13}"/>
              </a:ext>
            </a:extLst>
          </p:cNvPr>
          <p:cNvSpPr/>
          <p:nvPr/>
        </p:nvSpPr>
        <p:spPr>
          <a:xfrm>
            <a:off x="8090951" y="5310563"/>
            <a:ext cx="3919369" cy="912429"/>
          </a:xfrm>
          <a:prstGeom prst="rect">
            <a:avLst/>
          </a:prstGeom>
        </p:spPr>
        <p:txBody>
          <a:bodyPr wrap="square">
            <a:spAutoFit/>
          </a:bodyPr>
          <a:lstStyle/>
          <a:p>
            <a:pPr algn="ctr">
              <a:lnSpc>
                <a:spcPct val="150000"/>
              </a:lnSpc>
            </a:pPr>
            <a:r>
              <a:rPr lang="de-DE" dirty="0">
                <a:solidFill>
                  <a:srgbClr val="0070C0"/>
                </a:solidFill>
                <a:latin typeface="Cambria" panose="02040503050406030204" pitchFamily="18" charset="0"/>
              </a:rPr>
              <a:t>VIETNAM NATIONAL UNIVERSITY</a:t>
            </a:r>
          </a:p>
          <a:p>
            <a:pPr algn="ctr">
              <a:lnSpc>
                <a:spcPct val="150000"/>
              </a:lnSpc>
            </a:pPr>
            <a:r>
              <a:rPr lang="en-US" sz="2000" b="1" dirty="0">
                <a:solidFill>
                  <a:srgbClr val="0070C0"/>
                </a:solidFill>
                <a:latin typeface="Cambria" panose="02040503050406030204" pitchFamily="18" charset="0"/>
              </a:rPr>
              <a:t>UNIVERSITY OF EDUCATION</a:t>
            </a:r>
          </a:p>
        </p:txBody>
      </p:sp>
      <p:pic>
        <p:nvPicPr>
          <p:cNvPr id="30" name="Picture 29">
            <a:extLst>
              <a:ext uri="{FF2B5EF4-FFF2-40B4-BE49-F238E27FC236}">
                <a16:creationId xmlns:a16="http://schemas.microsoft.com/office/drawing/2014/main" id="{26667D4E-964A-4F7F-A54B-6C29C2AC84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18907" y="4255926"/>
            <a:ext cx="863459" cy="985107"/>
          </a:xfrm>
          <a:prstGeom prst="rect">
            <a:avLst/>
          </a:prstGeom>
        </p:spPr>
      </p:pic>
    </p:spTree>
    <p:extLst>
      <p:ext uri="{BB962C8B-B14F-4D97-AF65-F5344CB8AC3E}">
        <p14:creationId xmlns:p14="http://schemas.microsoft.com/office/powerpoint/2010/main" val="120977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3" descr="A picture containing rain&#10;&#10;Description automatically generated">
            <a:extLst>
              <a:ext uri="{FF2B5EF4-FFF2-40B4-BE49-F238E27FC236}">
                <a16:creationId xmlns:a16="http://schemas.microsoft.com/office/drawing/2014/main" id="{DDB1443C-21F7-44CE-B11A-CB709F8ACB81}"/>
              </a:ext>
            </a:extLst>
          </p:cNvPr>
          <p:cNvPicPr>
            <a:picLocks noChangeAspect="1"/>
          </p:cNvPicPr>
          <p:nvPr/>
        </p:nvPicPr>
        <p:blipFill rotWithShape="1">
          <a:blip r:embed="rId2" cstate="print">
            <a:alphaModFix amt="35000"/>
            <a:extLst>
              <a:ext uri="{28A0092B-C50C-407E-A947-70E740481C1C}">
                <a14:useLocalDpi xmlns:a14="http://schemas.microsoft.com/office/drawing/2010/main" val="0"/>
              </a:ext>
            </a:extLst>
          </a:blip>
          <a:srcRect b="15730"/>
          <a:stretch/>
        </p:blipFill>
        <p:spPr>
          <a:xfrm>
            <a:off x="-1" y="10"/>
            <a:ext cx="12192000" cy="6857990"/>
          </a:xfrm>
          <a:prstGeom prst="rect">
            <a:avLst/>
          </a:prstGeom>
        </p:spPr>
      </p:pic>
      <p:sp>
        <p:nvSpPr>
          <p:cNvPr id="2" name="Title 1">
            <a:extLst>
              <a:ext uri="{FF2B5EF4-FFF2-40B4-BE49-F238E27FC236}">
                <a16:creationId xmlns:a16="http://schemas.microsoft.com/office/drawing/2014/main" id="{FD2D4BF7-E44B-44DA-BC19-3D6F03BDD63A}"/>
              </a:ext>
            </a:extLst>
          </p:cNvPr>
          <p:cNvSpPr>
            <a:spLocks noGrp="1"/>
          </p:cNvSpPr>
          <p:nvPr>
            <p:ph type="title"/>
          </p:nvPr>
        </p:nvSpPr>
        <p:spPr>
          <a:xfrm>
            <a:off x="-2" y="1"/>
            <a:ext cx="10515600" cy="1036320"/>
          </a:xfrm>
        </p:spPr>
        <p:txBody>
          <a:bodyPr>
            <a:normAutofit/>
          </a:bodyPr>
          <a:lstStyle/>
          <a:p>
            <a:r>
              <a:rPr lang="en-US">
                <a:solidFill>
                  <a:srgbClr val="FFFFFF"/>
                </a:solidFill>
              </a:rPr>
              <a:t>Benchmark curriculum</a:t>
            </a:r>
            <a:endParaRPr lang="en-US" dirty="0">
              <a:solidFill>
                <a:srgbClr val="FFFFFF"/>
              </a:solidFill>
            </a:endParaRPr>
          </a:p>
        </p:txBody>
      </p:sp>
      <p:sp>
        <p:nvSpPr>
          <p:cNvPr id="12" name="Rectangle 11">
            <a:extLst>
              <a:ext uri="{FF2B5EF4-FFF2-40B4-BE49-F238E27FC236}">
                <a16:creationId xmlns:a16="http://schemas.microsoft.com/office/drawing/2014/main" id="{79DFC5F7-5EBB-4617-8161-7950C49D3C76}"/>
              </a:ext>
            </a:extLst>
          </p:cNvPr>
          <p:cNvSpPr/>
          <p:nvPr/>
        </p:nvSpPr>
        <p:spPr>
          <a:xfrm>
            <a:off x="853440" y="6488658"/>
            <a:ext cx="1069848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x., VNU- University of Education courses in program &amp; Professional Standards (ISPA &amp; CACREP)</a:t>
            </a:r>
          </a:p>
        </p:txBody>
      </p:sp>
      <p:graphicFrame>
        <p:nvGraphicFramePr>
          <p:cNvPr id="3" name="Table 2">
            <a:extLst>
              <a:ext uri="{FF2B5EF4-FFF2-40B4-BE49-F238E27FC236}">
                <a16:creationId xmlns:a16="http://schemas.microsoft.com/office/drawing/2014/main" id="{8AAA0D5D-3BCC-4D1C-8C50-E34D95C01E3C}"/>
              </a:ext>
            </a:extLst>
          </p:cNvPr>
          <p:cNvGraphicFramePr>
            <a:graphicFrameLocks noGrp="1"/>
          </p:cNvGraphicFramePr>
          <p:nvPr>
            <p:extLst>
              <p:ext uri="{D42A27DB-BD31-4B8C-83A1-F6EECF244321}">
                <p14:modId xmlns:p14="http://schemas.microsoft.com/office/powerpoint/2010/main" val="1353398545"/>
              </p:ext>
            </p:extLst>
          </p:nvPr>
        </p:nvGraphicFramePr>
        <p:xfrm>
          <a:off x="-3" y="857612"/>
          <a:ext cx="12191998" cy="6179098"/>
        </p:xfrm>
        <a:graphic>
          <a:graphicData uri="http://schemas.openxmlformats.org/drawingml/2006/table">
            <a:tbl>
              <a:tblPr firstRow="1" firstCol="1" bandRow="1" bandCol="1">
                <a:tableStyleId>{5C22544A-7EE6-4342-B048-85BDC9FD1C3A}</a:tableStyleId>
              </a:tblPr>
              <a:tblGrid>
                <a:gridCol w="534009">
                  <a:extLst>
                    <a:ext uri="{9D8B030D-6E8A-4147-A177-3AD203B41FA5}">
                      <a16:colId xmlns:a16="http://schemas.microsoft.com/office/drawing/2014/main" val="431745775"/>
                    </a:ext>
                  </a:extLst>
                </a:gridCol>
                <a:gridCol w="626668">
                  <a:extLst>
                    <a:ext uri="{9D8B030D-6E8A-4147-A177-3AD203B41FA5}">
                      <a16:colId xmlns:a16="http://schemas.microsoft.com/office/drawing/2014/main" val="3854070472"/>
                    </a:ext>
                  </a:extLst>
                </a:gridCol>
                <a:gridCol w="3199181">
                  <a:extLst>
                    <a:ext uri="{9D8B030D-6E8A-4147-A177-3AD203B41FA5}">
                      <a16:colId xmlns:a16="http://schemas.microsoft.com/office/drawing/2014/main" val="2284368943"/>
                    </a:ext>
                  </a:extLst>
                </a:gridCol>
                <a:gridCol w="712012">
                  <a:extLst>
                    <a:ext uri="{9D8B030D-6E8A-4147-A177-3AD203B41FA5}">
                      <a16:colId xmlns:a16="http://schemas.microsoft.com/office/drawing/2014/main" val="1665229504"/>
                    </a:ext>
                  </a:extLst>
                </a:gridCol>
                <a:gridCol w="4984089">
                  <a:extLst>
                    <a:ext uri="{9D8B030D-6E8A-4147-A177-3AD203B41FA5}">
                      <a16:colId xmlns:a16="http://schemas.microsoft.com/office/drawing/2014/main" val="2022425665"/>
                    </a:ext>
                  </a:extLst>
                </a:gridCol>
                <a:gridCol w="2136039">
                  <a:extLst>
                    <a:ext uri="{9D8B030D-6E8A-4147-A177-3AD203B41FA5}">
                      <a16:colId xmlns:a16="http://schemas.microsoft.com/office/drawing/2014/main" val="761196762"/>
                    </a:ext>
                  </a:extLst>
                </a:gridCol>
              </a:tblGrid>
              <a:tr h="449239">
                <a:tc>
                  <a:txBody>
                    <a:bodyPr/>
                    <a:lstStyle/>
                    <a:p>
                      <a:pPr marL="0" marR="0" indent="-1905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tabLst>
                          <a:tab pos="228600" algn="l"/>
                          <a:tab pos="685800" algn="l"/>
                          <a:tab pos="4686300" algn="r"/>
                        </a:tabLst>
                      </a:pPr>
                      <a:r>
                        <a:rPr lang="en-US" sz="1200" dirty="0">
                          <a:effectLst/>
                          <a:latin typeface="Times New Roman" panose="02020603050405020304" pitchFamily="18" charset="0"/>
                          <a:cs typeface="Times New Roman" panose="02020603050405020304" pitchFamily="18" charset="0"/>
                        </a:rPr>
                        <a:t>ID</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Course name</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credi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ISPA </a:t>
                      </a:r>
                      <a:r>
                        <a:rPr lang="en-US" sz="1200" dirty="0" err="1">
                          <a:effectLst/>
                          <a:latin typeface="Times New Roman" panose="02020603050405020304" pitchFamily="18" charset="0"/>
                          <a:cs typeface="Times New Roman" panose="02020603050405020304" pitchFamily="18" charset="0"/>
                        </a:rPr>
                        <a:t>Standars</a:t>
                      </a:r>
                      <a:r>
                        <a:rPr lang="en-US" sz="1200" dirty="0">
                          <a:effectLst/>
                          <a:latin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CACREP </a:t>
                      </a:r>
                      <a:r>
                        <a:rPr lang="en-US" sz="1200" dirty="0" err="1">
                          <a:effectLst/>
                          <a:latin typeface="Times New Roman" panose="02020603050405020304" pitchFamily="18" charset="0"/>
                          <a:cs typeface="Times New Roman" panose="02020603050405020304" pitchFamily="18" charset="0"/>
                        </a:rPr>
                        <a:t>Standars</a:t>
                      </a:r>
                      <a:r>
                        <a:rPr lang="en-US" sz="1200" dirty="0">
                          <a:effectLst/>
                          <a:latin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1086736651"/>
                  </a:ext>
                </a:extLst>
              </a:tr>
              <a:tr h="449239">
                <a:tc>
                  <a:txBody>
                    <a:bodyPr/>
                    <a:lstStyle/>
                    <a:p>
                      <a:pPr marL="342900" marR="0" lvl="0" indent="-342900">
                        <a:lnSpc>
                          <a:spcPct val="130000"/>
                        </a:lnSpc>
                        <a:spcBef>
                          <a:spcPts val="0"/>
                        </a:spcBef>
                        <a:spcAft>
                          <a:spcPts val="0"/>
                        </a:spcAft>
                        <a:buFont typeface="+mj-lt"/>
                        <a:buAutoNum type="arabicPeriod"/>
                      </a:pP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PSE 6024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Research methods in social sciences.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3</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6.1 Research design and implementation</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6.2 Analysis and interpretation of research findings</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Research and Program Evaluation </a:t>
                      </a:r>
                    </a:p>
                    <a:p>
                      <a:pPr marL="41275"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extLst>
                  <a:ext uri="{0D108BD9-81ED-4DB2-BD59-A6C34878D82A}">
                    <a16:rowId xmlns:a16="http://schemas.microsoft.com/office/drawing/2014/main" val="390015794"/>
                  </a:ext>
                </a:extLst>
              </a:tr>
              <a:tr h="449239">
                <a:tc>
                  <a:txBody>
                    <a:bodyPr/>
                    <a:lstStyle/>
                    <a:p>
                      <a:pPr marL="342900" marR="0" lvl="0" indent="-342900">
                        <a:lnSpc>
                          <a:spcPct val="130000"/>
                        </a:lnSpc>
                        <a:spcBef>
                          <a:spcPts val="0"/>
                        </a:spcBef>
                        <a:spcAft>
                          <a:spcPts val="0"/>
                        </a:spcAft>
                        <a:buFont typeface="+mj-lt"/>
                        <a:buAutoNum type="arabicPeriod"/>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MSC 6007</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Interview techniques &amp; case developmen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1.2 Social and Emotional Development</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2  Prevention, Mental Health Promotion and Crisis Intervention</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5.2 Interview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Counseling and Helping Relationships</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extLst>
                  <a:ext uri="{0D108BD9-81ED-4DB2-BD59-A6C34878D82A}">
                    <a16:rowId xmlns:a16="http://schemas.microsoft.com/office/drawing/2014/main" val="3101603306"/>
                  </a:ext>
                </a:extLst>
              </a:tr>
              <a:tr h="295143">
                <a:tc>
                  <a:txBody>
                    <a:bodyPr/>
                    <a:lstStyle/>
                    <a:p>
                      <a:pPr marL="342900" marR="0" lvl="0" indent="-342900">
                        <a:lnSpc>
                          <a:spcPct val="130000"/>
                        </a:lnSpc>
                        <a:spcBef>
                          <a:spcPts val="0"/>
                        </a:spcBef>
                        <a:spcAft>
                          <a:spcPts val="0"/>
                        </a:spcAft>
                        <a:buFont typeface="+mj-lt"/>
                        <a:buAutoNum type="arabicPeriod"/>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MSC 60</a:t>
                      </a:r>
                      <a:r>
                        <a:rPr lang="vi-VN" sz="1200">
                          <a:effectLst/>
                          <a:latin typeface="Times New Roman" panose="02020603050405020304" pitchFamily="18" charset="0"/>
                          <a:cs typeface="Times New Roman" panose="02020603050405020304" pitchFamily="18" charset="0"/>
                        </a:rPr>
                        <a:t>0</a:t>
                      </a:r>
                      <a:r>
                        <a:rPr lang="en-US" sz="1200">
                          <a:effectLst/>
                          <a:latin typeface="Times New Roman" panose="02020603050405020304" pitchFamily="18" charset="0"/>
                          <a:cs typeface="Times New Roman" panose="02020603050405020304" pitchFamily="18" charset="0"/>
                        </a:rPr>
                        <a:t>8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Group counseling &amp; communication skills developmen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2  Prevention, Mental Health Promotion and Crisis Intervention</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Group Counseling and Group Work</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extLst>
                  <a:ext uri="{0D108BD9-81ED-4DB2-BD59-A6C34878D82A}">
                    <a16:rowId xmlns:a16="http://schemas.microsoft.com/office/drawing/2014/main" val="1292253730"/>
                  </a:ext>
                </a:extLst>
              </a:tr>
              <a:tr h="0">
                <a:tc>
                  <a:txBody>
                    <a:bodyPr/>
                    <a:lstStyle/>
                    <a:p>
                      <a:pPr marL="342900" marR="0" lvl="0" indent="-342900">
                        <a:lnSpc>
                          <a:spcPct val="130000"/>
                        </a:lnSpc>
                        <a:spcBef>
                          <a:spcPts val="0"/>
                        </a:spcBef>
                        <a:spcAft>
                          <a:spcPts val="0"/>
                        </a:spcAft>
                        <a:buFont typeface="+mj-lt"/>
                        <a:buAutoNum type="arabicPeriod"/>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MSC 6009 </a:t>
                      </a:r>
                      <a:r>
                        <a:rPr lang="vi-VN" sz="1200">
                          <a:effectLst/>
                          <a:latin typeface="Times New Roman" panose="02020603050405020304" pitchFamily="18" charset="0"/>
                          <a:cs typeface="Times New Roman" panose="02020603050405020304" pitchFamily="18" charset="0"/>
                        </a:rPr>
                        <a: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Cognitive &amp; Academic  assessment &amp; intervention</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1.1 Cognition and Learn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Assessment and Test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extLst>
                  <a:ext uri="{0D108BD9-81ED-4DB2-BD59-A6C34878D82A}">
                    <a16:rowId xmlns:a16="http://schemas.microsoft.com/office/drawing/2014/main" val="2419486801"/>
                  </a:ext>
                </a:extLst>
              </a:tr>
              <a:tr h="449239">
                <a:tc>
                  <a:txBody>
                    <a:bodyPr/>
                    <a:lstStyle/>
                    <a:p>
                      <a:pPr marL="342900" marR="0" lvl="0" indent="-342900">
                        <a:lnSpc>
                          <a:spcPct val="130000"/>
                        </a:lnSpc>
                        <a:spcBef>
                          <a:spcPts val="0"/>
                        </a:spcBef>
                        <a:spcAft>
                          <a:spcPts val="0"/>
                        </a:spcAft>
                        <a:buFont typeface="+mj-lt"/>
                        <a:buAutoNum type="arabicPeriod"/>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MSC 6010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Treatments of externalizing, internalizing problems</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1.2 Social and Emotional Development</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1.3 Individual Differences</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2  Prevention, Mental Health Promotion and Crisis Intervention</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extLst>
                  <a:ext uri="{0D108BD9-81ED-4DB2-BD59-A6C34878D82A}">
                    <a16:rowId xmlns:a16="http://schemas.microsoft.com/office/drawing/2014/main" val="3022215556"/>
                  </a:ext>
                </a:extLst>
              </a:tr>
              <a:tr h="0">
                <a:tc>
                  <a:txBody>
                    <a:bodyPr/>
                    <a:lstStyle/>
                    <a:p>
                      <a:pPr marL="342900" marR="0" lvl="0" indent="-342900">
                        <a:lnSpc>
                          <a:spcPct val="130000"/>
                        </a:lnSpc>
                        <a:spcBef>
                          <a:spcPts val="0"/>
                        </a:spcBef>
                        <a:spcAft>
                          <a:spcPts val="0"/>
                        </a:spcAft>
                        <a:buFont typeface="+mj-lt"/>
                        <a:buAutoNum type="arabicPeriod"/>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MSC </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6011</a:t>
                      </a: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Crisis prevention &amp; intervention</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3</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2  Prevention, Mental Health Promotion and Crisis Intervention</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5.2 Interview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C</a:t>
                      </a:r>
                      <a:r>
                        <a:rPr lang="en-US" sz="1200" dirty="0" err="1">
                          <a:effectLst/>
                          <a:latin typeface="Times New Roman" panose="02020603050405020304" pitchFamily="18" charset="0"/>
                          <a:cs typeface="Times New Roman" panose="02020603050405020304" pitchFamily="18" charset="0"/>
                        </a:rPr>
                        <a:t>ounseling</a:t>
                      </a:r>
                      <a:r>
                        <a:rPr lang="en-US" sz="1200" dirty="0">
                          <a:effectLst/>
                          <a:latin typeface="Times New Roman" panose="02020603050405020304" pitchFamily="18" charset="0"/>
                          <a:cs typeface="Times New Roman" panose="02020603050405020304" pitchFamily="18" charset="0"/>
                        </a:rPr>
                        <a:t> and Helping Relationships</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extLst>
                  <a:ext uri="{0D108BD9-81ED-4DB2-BD59-A6C34878D82A}">
                    <a16:rowId xmlns:a16="http://schemas.microsoft.com/office/drawing/2014/main" val="4002434004"/>
                  </a:ext>
                </a:extLst>
              </a:tr>
              <a:tr h="603334">
                <a:tc>
                  <a:txBody>
                    <a:bodyPr/>
                    <a:lstStyle/>
                    <a:p>
                      <a:pPr marL="342900" marR="0" lvl="0" indent="-342900">
                        <a:lnSpc>
                          <a:spcPct val="130000"/>
                        </a:lnSpc>
                        <a:spcBef>
                          <a:spcPts val="0"/>
                        </a:spcBef>
                        <a:spcAft>
                          <a:spcPts val="0"/>
                        </a:spcAft>
                        <a:buFont typeface="+mj-lt"/>
                        <a:buAutoNum type="arabicPeriod"/>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MSC </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6012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Social work in schools: Home-school-community collaboration</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2 Working with children and families from culturally diverse communities</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4 Home-School-Community Collaboration</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5.2 Interview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extLst>
                  <a:ext uri="{0D108BD9-81ED-4DB2-BD59-A6C34878D82A}">
                    <a16:rowId xmlns:a16="http://schemas.microsoft.com/office/drawing/2014/main" val="2722643057"/>
                  </a:ext>
                </a:extLst>
              </a:tr>
              <a:tr h="0">
                <a:tc>
                  <a:txBody>
                    <a:bodyPr/>
                    <a:lstStyle/>
                    <a:p>
                      <a:pPr marL="342900" marR="0" lvl="0" indent="-342900">
                        <a:lnSpc>
                          <a:spcPct val="130000"/>
                        </a:lnSpc>
                        <a:spcBef>
                          <a:spcPts val="0"/>
                        </a:spcBef>
                        <a:spcAft>
                          <a:spcPts val="0"/>
                        </a:spcAft>
                        <a:buFont typeface="+mj-lt"/>
                        <a:buAutoNum type="arabicPeriod"/>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MSC 601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Academic advisement in universities and colleges</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1.3 Individual Differences</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 5.2 Interviewing</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C</a:t>
                      </a:r>
                      <a:r>
                        <a:rPr lang="en-US" sz="1200" dirty="0" err="1">
                          <a:effectLst/>
                          <a:latin typeface="Times New Roman" panose="02020603050405020304" pitchFamily="18" charset="0"/>
                          <a:cs typeface="Times New Roman" panose="02020603050405020304" pitchFamily="18" charset="0"/>
                        </a:rPr>
                        <a:t>ounseling</a:t>
                      </a:r>
                      <a:r>
                        <a:rPr lang="en-US" sz="1200" dirty="0">
                          <a:effectLst/>
                          <a:latin typeface="Times New Roman" panose="02020603050405020304" pitchFamily="18" charset="0"/>
                          <a:cs typeface="Times New Roman" panose="02020603050405020304" pitchFamily="18" charset="0"/>
                        </a:rPr>
                        <a:t> and Helping Relationships</a:t>
                      </a:r>
                    </a:p>
                  </a:txBody>
                  <a:tcPr marL="44451" marR="44451" marT="0" marB="0"/>
                </a:tc>
                <a:extLst>
                  <a:ext uri="{0D108BD9-81ED-4DB2-BD59-A6C34878D82A}">
                    <a16:rowId xmlns:a16="http://schemas.microsoft.com/office/drawing/2014/main" val="2097431109"/>
                  </a:ext>
                </a:extLst>
              </a:tr>
              <a:tr h="757429">
                <a:tc>
                  <a:txBody>
                    <a:bodyPr/>
                    <a:lstStyle/>
                    <a:p>
                      <a:pPr marL="342900" marR="0" lvl="0" indent="-342900">
                        <a:lnSpc>
                          <a:spcPct val="130000"/>
                        </a:lnSpc>
                        <a:spcBef>
                          <a:spcPts val="0"/>
                        </a:spcBef>
                        <a:spcAft>
                          <a:spcPts val="0"/>
                        </a:spcAft>
                        <a:buFont typeface="+mj-lt"/>
                        <a:buAutoNum type="arabicPeriod"/>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MSC 6014</a:t>
                      </a:r>
                    </a:p>
                    <a:p>
                      <a:pPr marL="0" marR="0">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Interventions for Pre-School &amp; Elementary Students.</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gn="ctr">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cs typeface="Times New Roman" panose="02020603050405020304" pitchFamily="18" charset="0"/>
                      </a:endParaRPr>
                    </a:p>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1.2 Social and Emotional Development</a:t>
                      </a:r>
                      <a:endParaRPr lang="en-US" sz="1200">
                        <a:effectLst/>
                        <a:latin typeface="Times New Roman" panose="02020603050405020304" pitchFamily="18" charset="0"/>
                        <a:cs typeface="Times New Roman" panose="02020603050405020304" pitchFamily="18" charset="0"/>
                      </a:endParaRP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1.3 Individual Differences</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2  Prevention, Mental Health Promotion and Crisis Intervention</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1 Evidence-Based Decision Making and Accountability</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5.2 Interview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tc>
                  <a:txBody>
                    <a:bodyPr/>
                    <a:lstStyle/>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Human Development</a:t>
                      </a:r>
                    </a:p>
                    <a:p>
                      <a:pPr marL="41275"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C</a:t>
                      </a:r>
                      <a:r>
                        <a:rPr lang="en-US" sz="1200" dirty="0" err="1">
                          <a:effectLst/>
                          <a:latin typeface="Times New Roman" panose="02020603050405020304" pitchFamily="18" charset="0"/>
                          <a:cs typeface="Times New Roman" panose="02020603050405020304" pitchFamily="18" charset="0"/>
                        </a:rPr>
                        <a:t>ounseling</a:t>
                      </a:r>
                      <a:r>
                        <a:rPr lang="en-US" sz="1200" dirty="0">
                          <a:effectLst/>
                          <a:latin typeface="Times New Roman" panose="02020603050405020304" pitchFamily="18" charset="0"/>
                          <a:cs typeface="Times New Roman" panose="02020603050405020304" pitchFamily="18" charset="0"/>
                        </a:rPr>
                        <a:t> and Helping Relationships</a:t>
                      </a:r>
                    </a:p>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Assessment and Testing</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1" marR="44451" marT="0" marB="0"/>
                </a:tc>
                <a:extLst>
                  <a:ext uri="{0D108BD9-81ED-4DB2-BD59-A6C34878D82A}">
                    <a16:rowId xmlns:a16="http://schemas.microsoft.com/office/drawing/2014/main" val="3146643041"/>
                  </a:ext>
                </a:extLst>
              </a:tr>
            </a:tbl>
          </a:graphicData>
        </a:graphic>
      </p:graphicFrame>
    </p:spTree>
    <p:extLst>
      <p:ext uri="{BB962C8B-B14F-4D97-AF65-F5344CB8AC3E}">
        <p14:creationId xmlns:p14="http://schemas.microsoft.com/office/powerpoint/2010/main" val="1600345505"/>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3" descr="A picture containing rain&#10;&#10;Description automatically generated">
            <a:extLst>
              <a:ext uri="{FF2B5EF4-FFF2-40B4-BE49-F238E27FC236}">
                <a16:creationId xmlns:a16="http://schemas.microsoft.com/office/drawing/2014/main" id="{DDB1443C-21F7-44CE-B11A-CB709F8ACB81}"/>
              </a:ext>
            </a:extLst>
          </p:cNvPr>
          <p:cNvPicPr>
            <a:picLocks noChangeAspect="1"/>
          </p:cNvPicPr>
          <p:nvPr/>
        </p:nvPicPr>
        <p:blipFill rotWithShape="1">
          <a:blip r:embed="rId2" cstate="print">
            <a:alphaModFix amt="35000"/>
            <a:extLst>
              <a:ext uri="{28A0092B-C50C-407E-A947-70E740481C1C}">
                <a14:useLocalDpi xmlns:a14="http://schemas.microsoft.com/office/drawing/2010/main" val="0"/>
              </a:ext>
            </a:extLst>
          </a:blip>
          <a:srcRect b="15730"/>
          <a:stretch/>
        </p:blipFill>
        <p:spPr>
          <a:xfrm>
            <a:off x="-1" y="10"/>
            <a:ext cx="12192000" cy="6857990"/>
          </a:xfrm>
          <a:prstGeom prst="rect">
            <a:avLst/>
          </a:prstGeom>
        </p:spPr>
      </p:pic>
      <p:sp>
        <p:nvSpPr>
          <p:cNvPr id="2" name="Title 1">
            <a:extLst>
              <a:ext uri="{FF2B5EF4-FFF2-40B4-BE49-F238E27FC236}">
                <a16:creationId xmlns:a16="http://schemas.microsoft.com/office/drawing/2014/main" id="{FD2D4BF7-E44B-44DA-BC19-3D6F03BDD63A}"/>
              </a:ext>
            </a:extLst>
          </p:cNvPr>
          <p:cNvSpPr>
            <a:spLocks noGrp="1"/>
          </p:cNvSpPr>
          <p:nvPr>
            <p:ph type="title"/>
          </p:nvPr>
        </p:nvSpPr>
        <p:spPr>
          <a:xfrm>
            <a:off x="-2" y="1"/>
            <a:ext cx="10515600" cy="1036320"/>
          </a:xfrm>
        </p:spPr>
        <p:txBody>
          <a:bodyPr>
            <a:normAutofit/>
          </a:bodyPr>
          <a:lstStyle/>
          <a:p>
            <a:r>
              <a:rPr lang="en-US">
                <a:solidFill>
                  <a:srgbClr val="FFFFFF"/>
                </a:solidFill>
              </a:rPr>
              <a:t>Benchmark curriculum</a:t>
            </a:r>
            <a:endParaRPr lang="en-US" dirty="0">
              <a:solidFill>
                <a:srgbClr val="FFFFFF"/>
              </a:solidFill>
            </a:endParaRPr>
          </a:p>
        </p:txBody>
      </p:sp>
      <p:sp>
        <p:nvSpPr>
          <p:cNvPr id="12" name="Rectangle 11">
            <a:extLst>
              <a:ext uri="{FF2B5EF4-FFF2-40B4-BE49-F238E27FC236}">
                <a16:creationId xmlns:a16="http://schemas.microsoft.com/office/drawing/2014/main" id="{79DFC5F7-5EBB-4617-8161-7950C49D3C76}"/>
              </a:ext>
            </a:extLst>
          </p:cNvPr>
          <p:cNvSpPr/>
          <p:nvPr/>
        </p:nvSpPr>
        <p:spPr>
          <a:xfrm>
            <a:off x="868680" y="6059948"/>
            <a:ext cx="1069848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x., VNU- University of Education courses in program &amp; Professional Standards (ISPA &amp; CACREP)</a:t>
            </a:r>
          </a:p>
        </p:txBody>
      </p:sp>
      <p:graphicFrame>
        <p:nvGraphicFramePr>
          <p:cNvPr id="4" name="Table 3">
            <a:extLst>
              <a:ext uri="{FF2B5EF4-FFF2-40B4-BE49-F238E27FC236}">
                <a16:creationId xmlns:a16="http://schemas.microsoft.com/office/drawing/2014/main" id="{5817D1D4-02DC-42D2-9D2B-AA734707A8ED}"/>
              </a:ext>
            </a:extLst>
          </p:cNvPr>
          <p:cNvGraphicFramePr>
            <a:graphicFrameLocks noGrp="1"/>
          </p:cNvGraphicFramePr>
          <p:nvPr>
            <p:extLst>
              <p:ext uri="{D42A27DB-BD31-4B8C-83A1-F6EECF244321}">
                <p14:modId xmlns:p14="http://schemas.microsoft.com/office/powerpoint/2010/main" val="916556348"/>
              </p:ext>
            </p:extLst>
          </p:nvPr>
        </p:nvGraphicFramePr>
        <p:xfrm>
          <a:off x="1" y="751007"/>
          <a:ext cx="12191999" cy="6966077"/>
        </p:xfrm>
        <a:graphic>
          <a:graphicData uri="http://schemas.openxmlformats.org/drawingml/2006/table">
            <a:tbl>
              <a:tblPr firstRow="1" firstCol="1" bandRow="1" bandCol="1">
                <a:tableStyleId>{5C22544A-7EE6-4342-B048-85BDC9FD1C3A}</a:tableStyleId>
              </a:tblPr>
              <a:tblGrid>
                <a:gridCol w="534008">
                  <a:extLst>
                    <a:ext uri="{9D8B030D-6E8A-4147-A177-3AD203B41FA5}">
                      <a16:colId xmlns:a16="http://schemas.microsoft.com/office/drawing/2014/main" val="2090474226"/>
                    </a:ext>
                  </a:extLst>
                </a:gridCol>
                <a:gridCol w="626668">
                  <a:extLst>
                    <a:ext uri="{9D8B030D-6E8A-4147-A177-3AD203B41FA5}">
                      <a16:colId xmlns:a16="http://schemas.microsoft.com/office/drawing/2014/main" val="4056938439"/>
                    </a:ext>
                  </a:extLst>
                </a:gridCol>
                <a:gridCol w="3199181">
                  <a:extLst>
                    <a:ext uri="{9D8B030D-6E8A-4147-A177-3AD203B41FA5}">
                      <a16:colId xmlns:a16="http://schemas.microsoft.com/office/drawing/2014/main" val="1432485396"/>
                    </a:ext>
                  </a:extLst>
                </a:gridCol>
                <a:gridCol w="712011">
                  <a:extLst>
                    <a:ext uri="{9D8B030D-6E8A-4147-A177-3AD203B41FA5}">
                      <a16:colId xmlns:a16="http://schemas.microsoft.com/office/drawing/2014/main" val="1480332180"/>
                    </a:ext>
                  </a:extLst>
                </a:gridCol>
                <a:gridCol w="4984092">
                  <a:extLst>
                    <a:ext uri="{9D8B030D-6E8A-4147-A177-3AD203B41FA5}">
                      <a16:colId xmlns:a16="http://schemas.microsoft.com/office/drawing/2014/main" val="3271928539"/>
                    </a:ext>
                  </a:extLst>
                </a:gridCol>
                <a:gridCol w="2136039">
                  <a:extLst>
                    <a:ext uri="{9D8B030D-6E8A-4147-A177-3AD203B41FA5}">
                      <a16:colId xmlns:a16="http://schemas.microsoft.com/office/drawing/2014/main" val="4265813564"/>
                    </a:ext>
                  </a:extLst>
                </a:gridCol>
              </a:tblGrid>
              <a:tr h="150317">
                <a:tc>
                  <a:txBody>
                    <a:bodyPr/>
                    <a:lstStyle/>
                    <a:p>
                      <a:pPr marL="0" marR="0" indent="-1905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tabLst>
                          <a:tab pos="228600" algn="l"/>
                          <a:tab pos="685800" algn="l"/>
                          <a:tab pos="4686300" algn="r"/>
                        </a:tabLst>
                      </a:pPr>
                      <a:r>
                        <a:rPr lang="en-US" sz="1200" dirty="0">
                          <a:effectLst/>
                          <a:latin typeface="Times New Roman" panose="02020603050405020304" pitchFamily="18" charset="0"/>
                          <a:cs typeface="Times New Roman" panose="02020603050405020304" pitchFamily="18" charset="0"/>
                        </a:rPr>
                        <a:t>ID</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Course name</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credi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ISPA </a:t>
                      </a:r>
                      <a:r>
                        <a:rPr lang="en-US" sz="1200" dirty="0" err="1">
                          <a:effectLst/>
                          <a:latin typeface="Times New Roman" panose="02020603050405020304" pitchFamily="18" charset="0"/>
                          <a:cs typeface="Times New Roman" panose="02020603050405020304" pitchFamily="18" charset="0"/>
                        </a:rPr>
                        <a:t>Standars</a:t>
                      </a:r>
                      <a:r>
                        <a:rPr lang="en-US" sz="1200" dirty="0">
                          <a:effectLst/>
                          <a:latin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CACREP </a:t>
                      </a:r>
                      <a:r>
                        <a:rPr lang="en-US" sz="1200" dirty="0" err="1">
                          <a:effectLst/>
                          <a:latin typeface="Times New Roman" panose="02020603050405020304" pitchFamily="18" charset="0"/>
                          <a:cs typeface="Times New Roman" panose="02020603050405020304" pitchFamily="18" charset="0"/>
                        </a:rPr>
                        <a:t>Standars</a:t>
                      </a:r>
                      <a:r>
                        <a:rPr lang="en-US" sz="1200" dirty="0">
                          <a:effectLst/>
                          <a:latin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3228202919"/>
                  </a:ext>
                </a:extLst>
              </a:tr>
              <a:tr h="254989">
                <a:tc>
                  <a:txBody>
                    <a:bodyPr/>
                    <a:lstStyle/>
                    <a:p>
                      <a:pPr marL="342900" marR="0" lvl="0" indent="-342900">
                        <a:lnSpc>
                          <a:spcPct val="130000"/>
                        </a:lnSpc>
                        <a:spcBef>
                          <a:spcPts val="0"/>
                        </a:spcBef>
                        <a:spcAft>
                          <a:spcPts val="0"/>
                        </a:spcAft>
                        <a:buFont typeface="+mj-lt"/>
                        <a:buAutoNum type="arabicPeriod"/>
                      </a:pP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MSC 6015 </a:t>
                      </a:r>
                      <a:r>
                        <a:rPr lang="vi-VN" sz="1200" dirty="0">
                          <a:effectLst/>
                          <a:latin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Interventions for Secondary &amp; High School Students</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41275" marR="0" algn="ctr">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cs typeface="Times New Roman" panose="02020603050405020304" pitchFamily="18" charset="0"/>
                      </a:endParaRPr>
                    </a:p>
                    <a:p>
                      <a:pPr marL="41275"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3</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41275"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1.2 Social and Emotional Development</a:t>
                      </a:r>
                      <a:endParaRPr lang="en-US" sz="1200" dirty="0">
                        <a:effectLst/>
                        <a:latin typeface="Times New Roman" panose="02020603050405020304" pitchFamily="18" charset="0"/>
                        <a:cs typeface="Times New Roman" panose="02020603050405020304" pitchFamily="18" charset="0"/>
                      </a:endParaRPr>
                    </a:p>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1.3 Individual Differences</a:t>
                      </a:r>
                    </a:p>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2.2  Prevention, Mental Health Promotion and Crisis Intervention</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2.1 Evidence-Based Decision Making and Accountability</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5.2 Interviewing</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41275"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Human Development</a:t>
                      </a:r>
                      <a:endParaRPr lang="en-US" sz="1200" dirty="0">
                        <a:effectLst/>
                        <a:latin typeface="Times New Roman" panose="02020603050405020304" pitchFamily="18" charset="0"/>
                        <a:cs typeface="Times New Roman" panose="02020603050405020304" pitchFamily="18" charset="0"/>
                      </a:endParaRPr>
                    </a:p>
                    <a:p>
                      <a:pPr marL="41275"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Counseling and Helping Relationships</a:t>
                      </a:r>
                      <a:endParaRPr lang="en-US" sz="1200" dirty="0">
                        <a:effectLst/>
                        <a:latin typeface="Times New Roman" panose="02020603050405020304" pitchFamily="18" charset="0"/>
                        <a:cs typeface="Times New Roman" panose="02020603050405020304" pitchFamily="18" charset="0"/>
                      </a:endParaRPr>
                    </a:p>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Assessment and Testing</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extLst>
                  <a:ext uri="{0D108BD9-81ED-4DB2-BD59-A6C34878D82A}">
                    <a16:rowId xmlns:a16="http://schemas.microsoft.com/office/drawing/2014/main" val="1538542039"/>
                  </a:ext>
                </a:extLst>
              </a:tr>
              <a:tr h="388119">
                <a:tc>
                  <a:txBody>
                    <a:bodyPr/>
                    <a:lstStyle/>
                    <a:p>
                      <a:pPr marL="342900" marR="0" lvl="0" indent="-342900">
                        <a:lnSpc>
                          <a:spcPct val="130000"/>
                        </a:lnSpc>
                        <a:spcBef>
                          <a:spcPts val="0"/>
                        </a:spcBef>
                        <a:spcAft>
                          <a:spcPts val="0"/>
                        </a:spcAft>
                        <a:buFont typeface="+mj-lt"/>
                        <a:buAutoNum type="arabicPeriod"/>
                      </a:pPr>
                      <a:r>
                        <a:rPr lang="en-US" sz="1200" dirty="0">
                          <a:effectLst/>
                          <a:latin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EDM</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6031</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Educational project</a:t>
                      </a:r>
                      <a:r>
                        <a:rPr lang="vi-VN" sz="1200">
                          <a:effectLst/>
                          <a:latin typeface="Times New Roman" panose="02020603050405020304" pitchFamily="18" charset="0"/>
                          <a:cs typeface="Times New Roman" panose="02020603050405020304" pitchFamily="18" charset="0"/>
                        </a:rPr>
                        <a:t>/</a:t>
                      </a:r>
                      <a:r>
                        <a:rPr lang="en-US" sz="1200">
                          <a:effectLst/>
                          <a:latin typeface="Times New Roman" panose="02020603050405020304" pitchFamily="18" charset="0"/>
                          <a:cs typeface="Times New Roman" panose="02020603050405020304" pitchFamily="18" charset="0"/>
                        </a:rPr>
                        <a:t>C</a:t>
                      </a:r>
                      <a:r>
                        <a:rPr lang="vi-VN" sz="1200">
                          <a:effectLst/>
                          <a:latin typeface="Times New Roman" panose="02020603050405020304" pitchFamily="18" charset="0"/>
                          <a:cs typeface="Times New Roman" panose="02020603050405020304" pitchFamily="18" charset="0"/>
                        </a:rPr>
                        <a:t>urriculum D</a:t>
                      </a:r>
                      <a:r>
                        <a:rPr lang="en-US" sz="1200">
                          <a:effectLst/>
                          <a:latin typeface="Times New Roman" panose="02020603050405020304" pitchFamily="18" charset="0"/>
                          <a:cs typeface="Times New Roman" panose="02020603050405020304" pitchFamily="18" charset="0"/>
                        </a:rPr>
                        <a:t>evelopment &amp; </a:t>
                      </a:r>
                      <a:r>
                        <a:rPr lang="vi-VN" sz="1200">
                          <a:effectLst/>
                          <a:latin typeface="Times New Roman" panose="02020603050405020304" pitchFamily="18" charset="0"/>
                          <a:cs typeface="Times New Roman" panose="02020603050405020304" pitchFamily="18" charset="0"/>
                        </a:rPr>
                        <a:t>E</a:t>
                      </a:r>
                      <a:r>
                        <a:rPr lang="en-US" sz="1200">
                          <a:effectLst/>
                          <a:latin typeface="Times New Roman" panose="02020603050405020304" pitchFamily="18" charset="0"/>
                          <a:cs typeface="Times New Roman" panose="02020603050405020304" pitchFamily="18" charset="0"/>
                        </a:rPr>
                        <a:t>valuation</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2.3 School and Systems Organization, Policy Development and Implementation</a:t>
                      </a:r>
                    </a:p>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2.1 Evidence-Based Decision Making and Accountability</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Research and Program Evaluation </a:t>
                      </a:r>
                    </a:p>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extLst>
                  <a:ext uri="{0D108BD9-81ED-4DB2-BD59-A6C34878D82A}">
                    <a16:rowId xmlns:a16="http://schemas.microsoft.com/office/drawing/2014/main" val="3922934643"/>
                  </a:ext>
                </a:extLst>
              </a:tr>
              <a:tr h="291933">
                <a:tc>
                  <a:txBody>
                    <a:bodyPr/>
                    <a:lstStyle/>
                    <a:p>
                      <a:pPr marL="342900" marR="0" lvl="0" indent="-342900">
                        <a:lnSpc>
                          <a:spcPct val="130000"/>
                        </a:lnSpc>
                        <a:spcBef>
                          <a:spcPts val="0"/>
                        </a:spcBef>
                        <a:spcAft>
                          <a:spcPts val="0"/>
                        </a:spcAft>
                        <a:buFont typeface="+mj-lt"/>
                        <a:buAutoNum type="arabicPeriod"/>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TMT</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6012</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Theories &amp; Technology in Teaching</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41275" marR="0" algn="ctr">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41275"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extLst>
                  <a:ext uri="{0D108BD9-81ED-4DB2-BD59-A6C34878D82A}">
                    <a16:rowId xmlns:a16="http://schemas.microsoft.com/office/drawing/2014/main" val="108766680"/>
                  </a:ext>
                </a:extLst>
              </a:tr>
              <a:tr h="920639">
                <a:tc>
                  <a:txBody>
                    <a:bodyPr/>
                    <a:lstStyle/>
                    <a:p>
                      <a:pPr marL="342900" marR="0" lvl="0" indent="-342900" algn="ctr">
                        <a:lnSpc>
                          <a:spcPct val="130000"/>
                        </a:lnSpc>
                        <a:spcBef>
                          <a:spcPts val="0"/>
                        </a:spcBef>
                        <a:spcAft>
                          <a:spcPts val="0"/>
                        </a:spcAft>
                        <a:buFont typeface="+mj-lt"/>
                        <a:buAutoNum type="arabicPeriod"/>
                      </a:pPr>
                      <a:r>
                        <a:rPr lang="vi-VN"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MSC</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 6016</a:t>
                      </a:r>
                    </a:p>
                    <a:p>
                      <a:pPr marL="0" marR="0">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1A.  </a:t>
                      </a:r>
                      <a:r>
                        <a:rPr lang="vi-VN" sz="1200" dirty="0">
                          <a:effectLst/>
                          <a:latin typeface="Times New Roman" panose="02020603050405020304" pitchFamily="18" charset="0"/>
                          <a:cs typeface="Times New Roman" panose="02020603050405020304" pitchFamily="18" charset="0"/>
                        </a:rPr>
                        <a:t>P</a:t>
                      </a:r>
                      <a:r>
                        <a:rPr lang="en-US" sz="1200" dirty="0" err="1">
                          <a:effectLst/>
                          <a:latin typeface="Times New Roman" panose="02020603050405020304" pitchFamily="18" charset="0"/>
                          <a:cs typeface="Times New Roman" panose="02020603050405020304" pitchFamily="18" charset="0"/>
                        </a:rPr>
                        <a:t>racticum</a:t>
                      </a:r>
                      <a:r>
                        <a:rPr lang="en-US" sz="1200" dirty="0">
                          <a:effectLst/>
                          <a:latin typeface="Times New Roman" panose="02020603050405020304" pitchFamily="18" charset="0"/>
                          <a:cs typeface="Times New Roman" panose="02020603050405020304" pitchFamily="18" charset="0"/>
                        </a:rPr>
                        <a:t> I</a:t>
                      </a:r>
                      <a:r>
                        <a:rPr lang="vi-VN" sz="1200" dirty="0">
                          <a:effectLst/>
                          <a:latin typeface="Times New Roman" panose="02020603050405020304" pitchFamily="18" charset="0"/>
                          <a:cs typeface="Times New Roman" panose="02020603050405020304" pitchFamily="18" charset="0"/>
                        </a:rPr>
                        <a:t>. Focus on</a:t>
                      </a:r>
                      <a:r>
                        <a:rPr lang="en-US" sz="1200" dirty="0">
                          <a:effectLst/>
                          <a:latin typeface="Times New Roman" panose="02020603050405020304" pitchFamily="18" charset="0"/>
                          <a:cs typeface="Times New Roman" panose="02020603050405020304" pitchFamily="18" charset="0"/>
                        </a:rPr>
                        <a:t> diagnosis, assessment</a:t>
                      </a:r>
                      <a:r>
                        <a:rPr lang="vi-VN" sz="1200" dirty="0">
                          <a:effectLst/>
                          <a:latin typeface="Times New Roman" panose="02020603050405020304" pitchFamily="18" charset="0"/>
                          <a:cs typeface="Times New Roman" panose="02020603050405020304" pitchFamily="18" charset="0"/>
                        </a:rPr>
                        <a:t> skills; </a:t>
                      </a:r>
                      <a:r>
                        <a:rPr lang="en-US" sz="1200" dirty="0">
                          <a:effectLst/>
                          <a:latin typeface="Times New Roman" panose="02020603050405020304" pitchFamily="18" charset="0"/>
                          <a:cs typeface="Times New Roman" panose="02020603050405020304" pitchFamily="18" charset="0"/>
                        </a:rPr>
                        <a:t>Cognitive</a:t>
                      </a:r>
                      <a:r>
                        <a:rPr lang="vi-VN" sz="1200" dirty="0">
                          <a:effectLst/>
                          <a:latin typeface="Times New Roman" panose="02020603050405020304" pitchFamily="18" charset="0"/>
                          <a:cs typeface="Times New Roman" panose="02020603050405020304" pitchFamily="18" charset="0"/>
                        </a:rPr>
                        <a:t>, A</a:t>
                      </a:r>
                      <a:r>
                        <a:rPr lang="en-US" sz="1200" dirty="0" err="1">
                          <a:effectLst/>
                          <a:latin typeface="Times New Roman" panose="02020603050405020304" pitchFamily="18" charset="0"/>
                          <a:cs typeface="Times New Roman" panose="02020603050405020304" pitchFamily="18" charset="0"/>
                        </a:rPr>
                        <a:t>cademic</a:t>
                      </a:r>
                      <a:r>
                        <a:rPr lang="en-US" sz="1200" dirty="0">
                          <a:effectLst/>
                          <a:latin typeface="Times New Roman" panose="02020603050405020304" pitchFamily="18" charset="0"/>
                          <a:cs typeface="Times New Roman" panose="02020603050405020304" pitchFamily="18" charset="0"/>
                        </a:rPr>
                        <a:t> &amp; Vocational guidance  intervention practicum</a:t>
                      </a:r>
                      <a:r>
                        <a:rPr lang="vi-VN" sz="1200" dirty="0">
                          <a:effectLst/>
                          <a:latin typeface="Times New Roman" panose="02020603050405020304" pitchFamily="18" charset="0"/>
                          <a:cs typeface="Times New Roman" panose="02020603050405020304" pitchFamily="18" charset="0"/>
                        </a:rPr>
                        <a:t> in in the Lab, Schools</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0" marR="0" algn="ctr">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1.2 Social and Emotional Development</a:t>
                      </a:r>
                      <a:endParaRPr lang="en-US" sz="1200" dirty="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1.3 Individual Differences</a:t>
                      </a:r>
                    </a:p>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2.1 Evidence-Based Decision Making and Accountability</a:t>
                      </a:r>
                    </a:p>
                    <a:p>
                      <a:pPr marL="41275"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4.2 Ethical issues in professional practice</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5.2 Interviewing</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Professional Counseling Orientation and Ethical Practice</a:t>
                      </a:r>
                    </a:p>
                    <a:p>
                      <a:pPr marL="0" marR="0">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Counseling and Helping Relationships</a:t>
                      </a:r>
                      <a:endParaRPr lang="en-US" sz="12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Career Development</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Assessment and Test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extLst>
                  <a:ext uri="{0D108BD9-81ED-4DB2-BD59-A6C34878D82A}">
                    <a16:rowId xmlns:a16="http://schemas.microsoft.com/office/drawing/2014/main" val="3847420070"/>
                  </a:ext>
                </a:extLst>
              </a:tr>
              <a:tr h="787509">
                <a:tc>
                  <a:txBody>
                    <a:bodyPr/>
                    <a:lstStyle/>
                    <a:p>
                      <a:pPr marL="342900" marR="0" lvl="0" indent="-342900" algn="ctr">
                        <a:lnSpc>
                          <a:spcPct val="130000"/>
                        </a:lnSpc>
                        <a:spcBef>
                          <a:spcPts val="0"/>
                        </a:spcBef>
                        <a:spcAft>
                          <a:spcPts val="0"/>
                        </a:spcAft>
                        <a:buFont typeface="+mj-lt"/>
                        <a:buAutoNum type="arabicPeriod"/>
                      </a:pPr>
                      <a:r>
                        <a:rPr lang="vi-VN"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MSC</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 6017</a:t>
                      </a:r>
                    </a:p>
                    <a:p>
                      <a:pPr marL="0" marR="0">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1B. </a:t>
                      </a:r>
                      <a:r>
                        <a:rPr lang="vi-VN" sz="1200" dirty="0">
                          <a:effectLst/>
                          <a:latin typeface="Times New Roman" panose="02020603050405020304" pitchFamily="18" charset="0"/>
                          <a:cs typeface="Times New Roman" panose="02020603050405020304" pitchFamily="18" charset="0"/>
                        </a:rPr>
                        <a:t>P</a:t>
                      </a:r>
                      <a:r>
                        <a:rPr lang="en-US" sz="1200" dirty="0" err="1">
                          <a:effectLst/>
                          <a:latin typeface="Times New Roman" panose="02020603050405020304" pitchFamily="18" charset="0"/>
                          <a:cs typeface="Times New Roman" panose="02020603050405020304" pitchFamily="18" charset="0"/>
                        </a:rPr>
                        <a:t>racticum</a:t>
                      </a:r>
                      <a:r>
                        <a:rPr lang="en-US" sz="1200" dirty="0">
                          <a:effectLst/>
                          <a:latin typeface="Times New Roman" panose="02020603050405020304" pitchFamily="18" charset="0"/>
                          <a:cs typeface="Times New Roman" panose="02020603050405020304" pitchFamily="18" charset="0"/>
                        </a:rPr>
                        <a:t> I</a:t>
                      </a:r>
                      <a:r>
                        <a:rPr lang="vi-VN" sz="1200" dirty="0">
                          <a:effectLst/>
                          <a:latin typeface="Times New Roman" panose="02020603050405020304" pitchFamily="18" charset="0"/>
                          <a:cs typeface="Times New Roman" panose="02020603050405020304" pitchFamily="18" charset="0"/>
                        </a:rPr>
                        <a:t>. Focus on</a:t>
                      </a:r>
                      <a:r>
                        <a:rPr lang="en-US" sz="1200" dirty="0">
                          <a:effectLst/>
                          <a:latin typeface="Times New Roman" panose="02020603050405020304" pitchFamily="18" charset="0"/>
                          <a:cs typeface="Times New Roman" panose="02020603050405020304" pitchFamily="18" charset="0"/>
                        </a:rPr>
                        <a:t> diagnosis, assessment</a:t>
                      </a:r>
                      <a:r>
                        <a:rPr lang="vi-VN" sz="1200" dirty="0">
                          <a:effectLst/>
                          <a:latin typeface="Times New Roman" panose="02020603050405020304" pitchFamily="18" charset="0"/>
                          <a:cs typeface="Times New Roman" panose="02020603050405020304" pitchFamily="18" charset="0"/>
                        </a:rPr>
                        <a:t> skills; </a:t>
                      </a:r>
                      <a:r>
                        <a:rPr lang="en-US" sz="1200" dirty="0">
                          <a:effectLst/>
                          <a:latin typeface="Times New Roman" panose="02020603050405020304" pitchFamily="18" charset="0"/>
                          <a:cs typeface="Times New Roman" panose="02020603050405020304" pitchFamily="18" charset="0"/>
                        </a:rPr>
                        <a:t>Mental health intervention practicum  </a:t>
                      </a:r>
                      <a:r>
                        <a:rPr lang="vi-VN" sz="1200" dirty="0">
                          <a:effectLst/>
                          <a:latin typeface="Times New Roman" panose="02020603050405020304" pitchFamily="18" charset="0"/>
                          <a:cs typeface="Times New Roman" panose="02020603050405020304" pitchFamily="18" charset="0"/>
                        </a:rPr>
                        <a:t>in the Lab, School, or Hospital, Psychological counseling services</a:t>
                      </a:r>
                      <a:r>
                        <a:rPr lang="en-US" sz="1200" dirty="0">
                          <a:effectLst/>
                          <a:latin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0" marR="0" algn="ctr">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1.2 Social and Emotional Development</a:t>
                      </a:r>
                      <a:endParaRPr lang="en-US" sz="12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1.3 Individual Differences</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2  Prevention, Mental Health Promotion and Crisis Intervention</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1 Evidence-Based Decision Making and Accountability</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4.2 Ethical issues in professional practice</a:t>
                      </a: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5.2 Interview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Professional Counseling Orientation and Ethical Practice</a:t>
                      </a:r>
                    </a:p>
                    <a:p>
                      <a:pPr marL="0" marR="0">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Counseling and Helping Relationships</a:t>
                      </a:r>
                      <a:endParaRPr lang="en-US" sz="12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Assessment and Test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extLst>
                  <a:ext uri="{0D108BD9-81ED-4DB2-BD59-A6C34878D82A}">
                    <a16:rowId xmlns:a16="http://schemas.microsoft.com/office/drawing/2014/main" val="3927007853"/>
                  </a:ext>
                </a:extLst>
              </a:tr>
              <a:tr h="1053769">
                <a:tc>
                  <a:txBody>
                    <a:bodyPr/>
                    <a:lstStyle/>
                    <a:p>
                      <a:pPr marL="342900" marR="0" lvl="0" indent="-342900" algn="ctr">
                        <a:lnSpc>
                          <a:spcPct val="130000"/>
                        </a:lnSpc>
                        <a:spcBef>
                          <a:spcPts val="0"/>
                        </a:spcBef>
                        <a:spcAft>
                          <a:spcPts val="0"/>
                        </a:spcAft>
                        <a:buFont typeface="+mj-lt"/>
                        <a:buAutoNum type="arabicPeriod"/>
                      </a:pPr>
                      <a:r>
                        <a:rPr lang="vi-VN" sz="1200">
                          <a:effectLst/>
                          <a:latin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gn="ctr">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MSC 6018</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en-US" sz="1200">
                          <a:effectLst/>
                          <a:latin typeface="Times New Roman" panose="02020603050405020304" pitchFamily="18" charset="0"/>
                          <a:cs typeface="Times New Roman" panose="02020603050405020304" pitchFamily="18" charset="0"/>
                        </a:rPr>
                        <a:t>2A.</a:t>
                      </a:r>
                      <a:r>
                        <a:rPr lang="vi-VN" sz="1200">
                          <a:effectLst/>
                          <a:latin typeface="Times New Roman" panose="02020603050405020304" pitchFamily="18" charset="0"/>
                          <a:cs typeface="Times New Roman" panose="02020603050405020304" pitchFamily="18" charset="0"/>
                        </a:rPr>
                        <a:t>P</a:t>
                      </a:r>
                      <a:r>
                        <a:rPr lang="en-US" sz="1200">
                          <a:effectLst/>
                          <a:latin typeface="Times New Roman" panose="02020603050405020304" pitchFamily="18" charset="0"/>
                          <a:cs typeface="Times New Roman" panose="02020603050405020304" pitchFamily="18" charset="0"/>
                        </a:rPr>
                        <a:t>racticum I</a:t>
                      </a:r>
                      <a:r>
                        <a:rPr lang="vi-VN" sz="1200">
                          <a:effectLst/>
                          <a:latin typeface="Times New Roman" panose="02020603050405020304" pitchFamily="18" charset="0"/>
                          <a:cs typeface="Times New Roman" panose="02020603050405020304" pitchFamily="18" charset="0"/>
                        </a:rPr>
                        <a:t>I. Focus on</a:t>
                      </a:r>
                      <a:r>
                        <a:rPr lang="en-US" sz="1200">
                          <a:effectLst/>
                          <a:latin typeface="Times New Roman" panose="02020603050405020304" pitchFamily="18" charset="0"/>
                          <a:cs typeface="Times New Roman" panose="02020603050405020304" pitchFamily="18" charset="0"/>
                        </a:rPr>
                        <a:t> School counseling</a:t>
                      </a:r>
                      <a:r>
                        <a:rPr lang="vi-VN" sz="1200">
                          <a:effectLst/>
                          <a:latin typeface="Times New Roman" panose="02020603050405020304" pitchFamily="18" charset="0"/>
                          <a:cs typeface="Times New Roman" panose="02020603050405020304" pitchFamily="18" charset="0"/>
                        </a:rPr>
                        <a:t>,</a:t>
                      </a:r>
                      <a:r>
                        <a:rPr lang="en-US" sz="1200">
                          <a:effectLst/>
                          <a:latin typeface="Times New Roman" panose="02020603050405020304" pitchFamily="18" charset="0"/>
                          <a:cs typeface="Times New Roman" panose="02020603050405020304" pitchFamily="18" charset="0"/>
                        </a:rPr>
                        <a:t> Vocational guidance  assessment </a:t>
                      </a:r>
                      <a:r>
                        <a:rPr lang="vi-VN" sz="1200">
                          <a:effectLst/>
                          <a:latin typeface="Times New Roman" panose="02020603050405020304" pitchFamily="18" charset="0"/>
                          <a:cs typeface="Times New Roman" panose="02020603050405020304" pitchFamily="18" charset="0"/>
                        </a:rPr>
                        <a:t>&amp; </a:t>
                      </a:r>
                      <a:r>
                        <a:rPr lang="en-US" sz="1200">
                          <a:effectLst/>
                          <a:latin typeface="Times New Roman" panose="02020603050405020304" pitchFamily="18" charset="0"/>
                          <a:cs typeface="Times New Roman" panose="02020603050405020304" pitchFamily="18" charset="0"/>
                        </a:rPr>
                        <a:t>intervention</a:t>
                      </a:r>
                      <a:r>
                        <a:rPr lang="vi-VN" sz="1200">
                          <a:effectLst/>
                          <a:latin typeface="Times New Roman" panose="02020603050405020304" pitchFamily="18" charset="0"/>
                          <a:cs typeface="Times New Roman" panose="02020603050405020304" pitchFamily="18" charset="0"/>
                        </a:rPr>
                        <a:t> (in School)</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0" marR="0" algn="ctr">
                        <a:lnSpc>
                          <a:spcPct val="130000"/>
                        </a:lnSpc>
                        <a:spcBef>
                          <a:spcPts val="0"/>
                        </a:spcBef>
                        <a:spcAft>
                          <a:spcPts val="0"/>
                        </a:spcAft>
                      </a:pPr>
                      <a:r>
                        <a:rPr lang="vi-VN" sz="1200">
                          <a:effectLst/>
                          <a:latin typeface="Times New Roman" panose="02020603050405020304" pitchFamily="18" charset="0"/>
                          <a:cs typeface="Times New Roman" panose="02020603050405020304" pitchFamily="18" charset="0"/>
                        </a:rPr>
                        <a:t>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nchor="ctr"/>
                </a:tc>
                <a:tc>
                  <a:txBody>
                    <a:bodyPr/>
                    <a:lstStyle/>
                    <a:p>
                      <a:pPr marL="0"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11.2 Social and Emotional Development</a:t>
                      </a:r>
                      <a:endParaRPr lang="en-US" sz="1200" dirty="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1.3 Individual Differences</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2.2  Prevention, Mental Health Promotion and Crisis Intervention</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2.1 Evidence-Based Decision Making and Accountability</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4.2 Ethical issues in professional practice</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5.2 Interviewing</a:t>
                      </a: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4.3 Report writing</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tc>
                  <a:txBody>
                    <a:bodyPr/>
                    <a:lstStyle/>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Professional Counseling Orientation and Ethical Practice</a:t>
                      </a:r>
                    </a:p>
                    <a:p>
                      <a:pPr marL="0"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Counseling and Helping Relationships</a:t>
                      </a:r>
                      <a:endParaRPr lang="en-US" sz="1200" dirty="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Career Development</a:t>
                      </a:r>
                    </a:p>
                    <a:p>
                      <a:pPr marL="0" marR="0">
                        <a:lnSpc>
                          <a:spcPct val="130000"/>
                        </a:lnSpc>
                        <a:spcBef>
                          <a:spcPts val="0"/>
                        </a:spcBef>
                        <a:spcAft>
                          <a:spcPts val="0"/>
                        </a:spcAft>
                      </a:pPr>
                      <a:r>
                        <a:rPr lang="vi-VN" sz="1200" dirty="0">
                          <a:effectLst/>
                          <a:latin typeface="Times New Roman" panose="02020603050405020304" pitchFamily="18" charset="0"/>
                          <a:cs typeface="Times New Roman" panose="02020603050405020304" pitchFamily="18" charset="0"/>
                        </a:rPr>
                        <a:t>Assessment and Testing</a:t>
                      </a:r>
                      <a:endParaRPr lang="en-US" sz="1200" dirty="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Report writing</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38403" marR="38403" marT="0" marB="0"/>
                </a:tc>
                <a:extLst>
                  <a:ext uri="{0D108BD9-81ED-4DB2-BD59-A6C34878D82A}">
                    <a16:rowId xmlns:a16="http://schemas.microsoft.com/office/drawing/2014/main" val="125917257"/>
                  </a:ext>
                </a:extLst>
              </a:tr>
            </a:tbl>
          </a:graphicData>
        </a:graphic>
      </p:graphicFrame>
    </p:spTree>
    <p:extLst>
      <p:ext uri="{BB962C8B-B14F-4D97-AF65-F5344CB8AC3E}">
        <p14:creationId xmlns:p14="http://schemas.microsoft.com/office/powerpoint/2010/main" val="3633961434"/>
      </p:ext>
    </p:extLst>
  </p:cSld>
  <p:clrMapOvr>
    <a:overrideClrMapping bg1="dk1" tx1="lt1" bg2="dk2" tx2="lt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3" descr="A picture containing rain&#10;&#10;Description automatically generated">
            <a:extLst>
              <a:ext uri="{FF2B5EF4-FFF2-40B4-BE49-F238E27FC236}">
                <a16:creationId xmlns:a16="http://schemas.microsoft.com/office/drawing/2014/main" id="{DDB1443C-21F7-44CE-B11A-CB709F8ACB81}"/>
              </a:ext>
            </a:extLst>
          </p:cNvPr>
          <p:cNvPicPr>
            <a:picLocks noChangeAspect="1"/>
          </p:cNvPicPr>
          <p:nvPr/>
        </p:nvPicPr>
        <p:blipFill rotWithShape="1">
          <a:blip r:embed="rId2" cstate="print">
            <a:alphaModFix amt="35000"/>
            <a:extLst>
              <a:ext uri="{28A0092B-C50C-407E-A947-70E740481C1C}">
                <a14:useLocalDpi xmlns:a14="http://schemas.microsoft.com/office/drawing/2010/main" val="0"/>
              </a:ext>
            </a:extLst>
          </a:blip>
          <a:srcRect b="15730"/>
          <a:stretch/>
        </p:blipFill>
        <p:spPr>
          <a:xfrm>
            <a:off x="-1" y="10"/>
            <a:ext cx="12192000" cy="6857990"/>
          </a:xfrm>
          <a:prstGeom prst="rect">
            <a:avLst/>
          </a:prstGeom>
        </p:spPr>
      </p:pic>
      <p:sp>
        <p:nvSpPr>
          <p:cNvPr id="2" name="Title 1">
            <a:extLst>
              <a:ext uri="{FF2B5EF4-FFF2-40B4-BE49-F238E27FC236}">
                <a16:creationId xmlns:a16="http://schemas.microsoft.com/office/drawing/2014/main" id="{FD2D4BF7-E44B-44DA-BC19-3D6F03BDD63A}"/>
              </a:ext>
            </a:extLst>
          </p:cNvPr>
          <p:cNvSpPr>
            <a:spLocks noGrp="1"/>
          </p:cNvSpPr>
          <p:nvPr>
            <p:ph type="title"/>
          </p:nvPr>
        </p:nvSpPr>
        <p:spPr>
          <a:xfrm>
            <a:off x="-2" y="1"/>
            <a:ext cx="10515600" cy="1036320"/>
          </a:xfrm>
        </p:spPr>
        <p:txBody>
          <a:bodyPr>
            <a:normAutofit/>
          </a:bodyPr>
          <a:lstStyle/>
          <a:p>
            <a:r>
              <a:rPr lang="en-US">
                <a:solidFill>
                  <a:srgbClr val="FFFFFF"/>
                </a:solidFill>
              </a:rPr>
              <a:t>Benchmark curriculum</a:t>
            </a:r>
            <a:endParaRPr lang="en-US" dirty="0">
              <a:solidFill>
                <a:srgbClr val="FFFFFF"/>
              </a:solidFill>
            </a:endParaRPr>
          </a:p>
        </p:txBody>
      </p:sp>
      <p:sp>
        <p:nvSpPr>
          <p:cNvPr id="12" name="Rectangle 11">
            <a:extLst>
              <a:ext uri="{FF2B5EF4-FFF2-40B4-BE49-F238E27FC236}">
                <a16:creationId xmlns:a16="http://schemas.microsoft.com/office/drawing/2014/main" id="{79DFC5F7-5EBB-4617-8161-7950C49D3C76}"/>
              </a:ext>
            </a:extLst>
          </p:cNvPr>
          <p:cNvSpPr/>
          <p:nvPr/>
        </p:nvSpPr>
        <p:spPr>
          <a:xfrm>
            <a:off x="868680" y="6059948"/>
            <a:ext cx="1069848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x., VNU- University of Education courses in program &amp; Professional Standards (ISPA &amp; CACREP)</a:t>
            </a:r>
          </a:p>
        </p:txBody>
      </p:sp>
      <p:graphicFrame>
        <p:nvGraphicFramePr>
          <p:cNvPr id="3" name="Table 2">
            <a:extLst>
              <a:ext uri="{FF2B5EF4-FFF2-40B4-BE49-F238E27FC236}">
                <a16:creationId xmlns:a16="http://schemas.microsoft.com/office/drawing/2014/main" id="{74FB66F9-FBB2-4B40-A348-4FD9A198333C}"/>
              </a:ext>
            </a:extLst>
          </p:cNvPr>
          <p:cNvGraphicFramePr>
            <a:graphicFrameLocks noGrp="1"/>
          </p:cNvGraphicFramePr>
          <p:nvPr>
            <p:extLst>
              <p:ext uri="{D42A27DB-BD31-4B8C-83A1-F6EECF244321}">
                <p14:modId xmlns:p14="http://schemas.microsoft.com/office/powerpoint/2010/main" val="2069462789"/>
              </p:ext>
            </p:extLst>
          </p:nvPr>
        </p:nvGraphicFramePr>
        <p:xfrm>
          <a:off x="399737" y="1291208"/>
          <a:ext cx="11392524" cy="4275584"/>
        </p:xfrm>
        <a:graphic>
          <a:graphicData uri="http://schemas.openxmlformats.org/drawingml/2006/table">
            <a:tbl>
              <a:tblPr firstRow="1" firstCol="1" bandRow="1" bandCol="1">
                <a:tableStyleId>{5C22544A-7EE6-4342-B048-85BDC9FD1C3A}</a:tableStyleId>
              </a:tblPr>
              <a:tblGrid>
                <a:gridCol w="498992">
                  <a:extLst>
                    <a:ext uri="{9D8B030D-6E8A-4147-A177-3AD203B41FA5}">
                      <a16:colId xmlns:a16="http://schemas.microsoft.com/office/drawing/2014/main" val="1682563628"/>
                    </a:ext>
                  </a:extLst>
                </a:gridCol>
                <a:gridCol w="585576">
                  <a:extLst>
                    <a:ext uri="{9D8B030D-6E8A-4147-A177-3AD203B41FA5}">
                      <a16:colId xmlns:a16="http://schemas.microsoft.com/office/drawing/2014/main" val="525661851"/>
                    </a:ext>
                  </a:extLst>
                </a:gridCol>
                <a:gridCol w="2989400">
                  <a:extLst>
                    <a:ext uri="{9D8B030D-6E8A-4147-A177-3AD203B41FA5}">
                      <a16:colId xmlns:a16="http://schemas.microsoft.com/office/drawing/2014/main" val="3811023654"/>
                    </a:ext>
                  </a:extLst>
                </a:gridCol>
                <a:gridCol w="665323">
                  <a:extLst>
                    <a:ext uri="{9D8B030D-6E8A-4147-A177-3AD203B41FA5}">
                      <a16:colId xmlns:a16="http://schemas.microsoft.com/office/drawing/2014/main" val="1104784621"/>
                    </a:ext>
                  </a:extLst>
                </a:gridCol>
                <a:gridCol w="4657263">
                  <a:extLst>
                    <a:ext uri="{9D8B030D-6E8A-4147-A177-3AD203B41FA5}">
                      <a16:colId xmlns:a16="http://schemas.microsoft.com/office/drawing/2014/main" val="2226072698"/>
                    </a:ext>
                  </a:extLst>
                </a:gridCol>
                <a:gridCol w="1995970">
                  <a:extLst>
                    <a:ext uri="{9D8B030D-6E8A-4147-A177-3AD203B41FA5}">
                      <a16:colId xmlns:a16="http://schemas.microsoft.com/office/drawing/2014/main" val="2399754504"/>
                    </a:ext>
                  </a:extLst>
                </a:gridCol>
              </a:tblGrid>
              <a:tr h="0">
                <a:tc>
                  <a:txBody>
                    <a:bodyPr/>
                    <a:lstStyle/>
                    <a:p>
                      <a:pPr marL="0" marR="0" indent="-19050" algn="ctr">
                        <a:lnSpc>
                          <a:spcPct val="130000"/>
                        </a:lnSpc>
                        <a:spcBef>
                          <a:spcPts val="0"/>
                        </a:spcBef>
                        <a:spcAft>
                          <a:spcPts val="0"/>
                        </a:spcAft>
                      </a:pPr>
                      <a:r>
                        <a:rPr lang="en-US" sz="1300" dirty="0">
                          <a:effectLst/>
                          <a:latin typeface="Times New Roman" panose="02020603050405020304" pitchFamily="18" charset="0"/>
                          <a:cs typeface="Times New Roman" panose="02020603050405020304" pitchFamily="18" charset="0"/>
                        </a:rPr>
                        <a:t>#</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tabLst>
                          <a:tab pos="228600" algn="l"/>
                          <a:tab pos="685800" algn="l"/>
                          <a:tab pos="4686300" algn="r"/>
                        </a:tabLst>
                      </a:pPr>
                      <a:r>
                        <a:rPr lang="en-US" sz="1300" dirty="0">
                          <a:effectLst/>
                          <a:latin typeface="Times New Roman" panose="02020603050405020304" pitchFamily="18" charset="0"/>
                          <a:cs typeface="Times New Roman" panose="02020603050405020304" pitchFamily="18" charset="0"/>
                        </a:rPr>
                        <a:t>ID</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300" dirty="0">
                          <a:effectLst/>
                          <a:latin typeface="Times New Roman" panose="02020603050405020304" pitchFamily="18" charset="0"/>
                          <a:cs typeface="Times New Roman" panose="02020603050405020304" pitchFamily="18" charset="0"/>
                        </a:rPr>
                        <a:t>Course name</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300" dirty="0">
                          <a:effectLst/>
                          <a:latin typeface="Times New Roman" panose="02020603050405020304" pitchFamily="18" charset="0"/>
                          <a:cs typeface="Times New Roman" panose="02020603050405020304" pitchFamily="18" charset="0"/>
                        </a:rPr>
                        <a:t>credit</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300" dirty="0">
                          <a:effectLst/>
                          <a:latin typeface="Times New Roman" panose="02020603050405020304" pitchFamily="18" charset="0"/>
                          <a:cs typeface="Times New Roman" panose="02020603050405020304" pitchFamily="18" charset="0"/>
                        </a:rPr>
                        <a:t>ISPA </a:t>
                      </a:r>
                      <a:r>
                        <a:rPr lang="en-US" sz="1300" dirty="0" err="1">
                          <a:effectLst/>
                          <a:latin typeface="Times New Roman" panose="02020603050405020304" pitchFamily="18" charset="0"/>
                          <a:cs typeface="Times New Roman" panose="02020603050405020304" pitchFamily="18" charset="0"/>
                        </a:rPr>
                        <a:t>Standars</a:t>
                      </a:r>
                      <a:r>
                        <a:rPr lang="en-US" sz="1300" dirty="0">
                          <a:effectLst/>
                          <a:latin typeface="Times New Roman" panose="02020603050405020304" pitchFamily="18" charset="0"/>
                          <a:cs typeface="Times New Roman" panose="02020603050405020304" pitchFamily="18" charset="0"/>
                        </a:rPr>
                        <a:t> (**)</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300" dirty="0">
                          <a:effectLst/>
                          <a:latin typeface="Times New Roman" panose="02020603050405020304" pitchFamily="18" charset="0"/>
                          <a:cs typeface="Times New Roman" panose="02020603050405020304" pitchFamily="18" charset="0"/>
                        </a:rPr>
                        <a:t>CACREP </a:t>
                      </a:r>
                      <a:r>
                        <a:rPr lang="en-US" sz="1300" dirty="0" err="1">
                          <a:effectLst/>
                          <a:latin typeface="Times New Roman" panose="02020603050405020304" pitchFamily="18" charset="0"/>
                          <a:cs typeface="Times New Roman" panose="02020603050405020304" pitchFamily="18" charset="0"/>
                        </a:rPr>
                        <a:t>Standars</a:t>
                      </a:r>
                      <a:r>
                        <a:rPr lang="en-US" sz="1300" dirty="0">
                          <a:effectLst/>
                          <a:latin typeface="Times New Roman" panose="02020603050405020304" pitchFamily="18" charset="0"/>
                          <a:cs typeface="Times New Roman" panose="02020603050405020304" pitchFamily="18" charset="0"/>
                        </a:rPr>
                        <a:t> (**)</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837876512"/>
                  </a:ext>
                </a:extLst>
              </a:tr>
              <a:tr h="1262624">
                <a:tc>
                  <a:txBody>
                    <a:bodyPr/>
                    <a:lstStyle/>
                    <a:p>
                      <a:pPr marL="342900" marR="0" lvl="0" indent="-342900" algn="ctr">
                        <a:lnSpc>
                          <a:spcPct val="130000"/>
                        </a:lnSpc>
                        <a:spcBef>
                          <a:spcPts val="0"/>
                        </a:spcBef>
                        <a:spcAft>
                          <a:spcPts val="0"/>
                        </a:spcAft>
                        <a:buFont typeface="+mj-lt"/>
                        <a:buAutoNum type="arabicPeriod"/>
                      </a:pPr>
                      <a:r>
                        <a:rPr lang="en-US" sz="1300">
                          <a:effectLst/>
                          <a:latin typeface="Times New Roman" panose="02020603050405020304" pitchFamily="18" charset="0"/>
                          <a:cs typeface="Times New Roman" panose="02020603050405020304" pitchFamily="18" charset="0"/>
                        </a:rPr>
                        <a:t> </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nchor="ctr"/>
                </a:tc>
                <a:tc>
                  <a:txBody>
                    <a:bodyPr/>
                    <a:lstStyle/>
                    <a:p>
                      <a:pPr marL="0" marR="0" algn="ctr">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MSC 6019</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nchor="ctr"/>
                </a:tc>
                <a:tc>
                  <a:txBody>
                    <a:bodyPr/>
                    <a:lstStyle/>
                    <a:p>
                      <a:pPr marL="0" marR="0">
                        <a:lnSpc>
                          <a:spcPct val="130000"/>
                        </a:lnSpc>
                        <a:spcBef>
                          <a:spcPts val="0"/>
                        </a:spcBef>
                        <a:spcAft>
                          <a:spcPts val="0"/>
                        </a:spcAft>
                      </a:pPr>
                      <a:r>
                        <a:rPr lang="en-US" sz="1300" dirty="0">
                          <a:effectLst/>
                          <a:latin typeface="Times New Roman" panose="02020603050405020304" pitchFamily="18" charset="0"/>
                          <a:cs typeface="Times New Roman" panose="02020603050405020304" pitchFamily="18" charset="0"/>
                        </a:rPr>
                        <a:t>2B. </a:t>
                      </a:r>
                      <a:r>
                        <a:rPr lang="vi-VN" sz="1300" dirty="0">
                          <a:effectLst/>
                          <a:latin typeface="Times New Roman" panose="02020603050405020304" pitchFamily="18" charset="0"/>
                          <a:cs typeface="Times New Roman" panose="02020603050405020304" pitchFamily="18" charset="0"/>
                        </a:rPr>
                        <a:t>P</a:t>
                      </a:r>
                      <a:r>
                        <a:rPr lang="en-US" sz="1300" dirty="0" err="1">
                          <a:effectLst/>
                          <a:latin typeface="Times New Roman" panose="02020603050405020304" pitchFamily="18" charset="0"/>
                          <a:cs typeface="Times New Roman" panose="02020603050405020304" pitchFamily="18" charset="0"/>
                        </a:rPr>
                        <a:t>racticum</a:t>
                      </a:r>
                      <a:r>
                        <a:rPr lang="en-US" sz="1300" dirty="0">
                          <a:effectLst/>
                          <a:latin typeface="Times New Roman" panose="02020603050405020304" pitchFamily="18" charset="0"/>
                          <a:cs typeface="Times New Roman" panose="02020603050405020304" pitchFamily="18" charset="0"/>
                        </a:rPr>
                        <a:t> I</a:t>
                      </a:r>
                      <a:r>
                        <a:rPr lang="vi-VN" sz="1300" dirty="0">
                          <a:effectLst/>
                          <a:latin typeface="Times New Roman" panose="02020603050405020304" pitchFamily="18" charset="0"/>
                          <a:cs typeface="Times New Roman" panose="02020603050405020304" pitchFamily="18" charset="0"/>
                        </a:rPr>
                        <a:t>I. Focus on</a:t>
                      </a:r>
                      <a:r>
                        <a:rPr lang="en-US" sz="1300" dirty="0">
                          <a:effectLst/>
                          <a:latin typeface="Times New Roman" panose="02020603050405020304" pitchFamily="18" charset="0"/>
                          <a:cs typeface="Times New Roman" panose="02020603050405020304" pitchFamily="18" charset="0"/>
                        </a:rPr>
                        <a:t> Mental health assessment</a:t>
                      </a:r>
                      <a:r>
                        <a:rPr lang="vi-VN" sz="1300" dirty="0">
                          <a:effectLst/>
                          <a:latin typeface="Times New Roman" panose="02020603050405020304" pitchFamily="18" charset="0"/>
                          <a:cs typeface="Times New Roman" panose="02020603050405020304" pitchFamily="18" charset="0"/>
                        </a:rPr>
                        <a:t> &amp;</a:t>
                      </a:r>
                      <a:r>
                        <a:rPr lang="en-US" sz="1300" dirty="0">
                          <a:effectLst/>
                          <a:latin typeface="Times New Roman" panose="02020603050405020304" pitchFamily="18" charset="0"/>
                          <a:cs typeface="Times New Roman" panose="02020603050405020304" pitchFamily="18" charset="0"/>
                        </a:rPr>
                        <a:t> intervention </a:t>
                      </a:r>
                      <a:r>
                        <a:rPr lang="vi-VN" sz="1300" dirty="0">
                          <a:effectLst/>
                          <a:latin typeface="Times New Roman" panose="02020603050405020304" pitchFamily="18" charset="0"/>
                          <a:cs typeface="Times New Roman" panose="02020603050405020304" pitchFamily="18" charset="0"/>
                        </a:rPr>
                        <a:t>(in School, Psychological counseling services)</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tc>
                  <a:txBody>
                    <a:bodyPr/>
                    <a:lstStyle/>
                    <a:p>
                      <a:pPr marL="0" marR="0" algn="ctr">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3</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nchor="ctr"/>
                </a:tc>
                <a:tc>
                  <a:txBody>
                    <a:bodyPr/>
                    <a:lstStyle/>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1.2 Social and Emotional Development</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1.3 Individual Differences</a:t>
                      </a: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2.2 .Prevention, Mental Health Promotion and Crisis Intervention</a:t>
                      </a: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2.1 Evidence-Based Decision Making and Accountability</a:t>
                      </a: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4.2 Ethical issues in professional practice</a:t>
                      </a: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5.2 Interviewing</a:t>
                      </a: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4.3 Report writing</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tc>
                  <a:txBody>
                    <a:bodyPr/>
                    <a:lstStyle/>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Professional Counseling Orientation and Ethical Practice</a:t>
                      </a:r>
                    </a:p>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Counseling and Helping Relationships</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Assessment and Testing</a:t>
                      </a: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Report writing</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extLst>
                  <a:ext uri="{0D108BD9-81ED-4DB2-BD59-A6C34878D82A}">
                    <a16:rowId xmlns:a16="http://schemas.microsoft.com/office/drawing/2014/main" val="1985252915"/>
                  </a:ext>
                </a:extLst>
              </a:tr>
              <a:tr h="1221372">
                <a:tc>
                  <a:txBody>
                    <a:bodyPr/>
                    <a:lstStyle/>
                    <a:p>
                      <a:pPr marL="342900" marR="0" lvl="0" indent="-342900" algn="ctr">
                        <a:lnSpc>
                          <a:spcPct val="130000"/>
                        </a:lnSpc>
                        <a:spcBef>
                          <a:spcPts val="0"/>
                        </a:spcBef>
                        <a:spcAft>
                          <a:spcPts val="0"/>
                        </a:spcAft>
                        <a:buFont typeface="+mj-lt"/>
                        <a:buAutoNum type="arabicPeriod"/>
                      </a:pPr>
                      <a:r>
                        <a:rPr lang="vi-VN" sz="1300">
                          <a:effectLst/>
                          <a:latin typeface="Times New Roman" panose="02020603050405020304" pitchFamily="18" charset="0"/>
                          <a:cs typeface="Times New Roman" panose="02020603050405020304" pitchFamily="18" charset="0"/>
                        </a:rPr>
                        <a:t> </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nchor="ctr"/>
                </a:tc>
                <a:tc>
                  <a:txBody>
                    <a:bodyPr/>
                    <a:lstStyle/>
                    <a:p>
                      <a:pPr marL="0" marR="0" algn="ctr">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MSC 6020</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nchor="ctr"/>
                </a:tc>
                <a:tc>
                  <a:txBody>
                    <a:bodyPr/>
                    <a:lstStyle/>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2C. </a:t>
                      </a:r>
                      <a:r>
                        <a:rPr lang="vi-VN" sz="1300">
                          <a:effectLst/>
                          <a:latin typeface="Times New Roman" panose="02020603050405020304" pitchFamily="18" charset="0"/>
                          <a:cs typeface="Times New Roman" panose="02020603050405020304" pitchFamily="18" charset="0"/>
                        </a:rPr>
                        <a:t>P</a:t>
                      </a:r>
                      <a:r>
                        <a:rPr lang="en-US" sz="1300">
                          <a:effectLst/>
                          <a:latin typeface="Times New Roman" panose="02020603050405020304" pitchFamily="18" charset="0"/>
                          <a:cs typeface="Times New Roman" panose="02020603050405020304" pitchFamily="18" charset="0"/>
                        </a:rPr>
                        <a:t>racticum I</a:t>
                      </a:r>
                      <a:r>
                        <a:rPr lang="vi-VN" sz="1300">
                          <a:effectLst/>
                          <a:latin typeface="Times New Roman" panose="02020603050405020304" pitchFamily="18" charset="0"/>
                          <a:cs typeface="Times New Roman" panose="02020603050405020304" pitchFamily="18" charset="0"/>
                        </a:rPr>
                        <a:t>I. Focus on</a:t>
                      </a:r>
                      <a:r>
                        <a:rPr lang="en-US" sz="1300">
                          <a:effectLst/>
                          <a:latin typeface="Times New Roman" panose="02020603050405020304" pitchFamily="18" charset="0"/>
                          <a:cs typeface="Times New Roman" panose="02020603050405020304" pitchFamily="18" charset="0"/>
                        </a:rPr>
                        <a:t> School social work</a:t>
                      </a:r>
                      <a:r>
                        <a:rPr lang="vi-VN" sz="1300">
                          <a:effectLst/>
                          <a:latin typeface="Times New Roman" panose="02020603050405020304" pitchFamily="18" charset="0"/>
                          <a:cs typeface="Times New Roman" panose="02020603050405020304" pitchFamily="18" charset="0"/>
                        </a:rPr>
                        <a:t> (in School, S</a:t>
                      </a:r>
                      <a:r>
                        <a:rPr lang="en-US" sz="1300">
                          <a:effectLst/>
                          <a:latin typeface="Times New Roman" panose="02020603050405020304" pitchFamily="18" charset="0"/>
                          <a:cs typeface="Times New Roman" panose="02020603050405020304" pitchFamily="18" charset="0"/>
                        </a:rPr>
                        <a:t>ocial work</a:t>
                      </a:r>
                      <a:r>
                        <a:rPr lang="vi-VN" sz="1300">
                          <a:effectLst/>
                          <a:latin typeface="Times New Roman" panose="02020603050405020304" pitchFamily="18" charset="0"/>
                          <a:cs typeface="Times New Roman" panose="02020603050405020304" pitchFamily="18" charset="0"/>
                        </a:rPr>
                        <a:t> services)</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tc>
                  <a:txBody>
                    <a:bodyPr/>
                    <a:lstStyle/>
                    <a:p>
                      <a:pPr marL="0" marR="0" algn="ctr">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3</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nchor="ctr"/>
                </a:tc>
                <a:tc>
                  <a:txBody>
                    <a:bodyPr/>
                    <a:lstStyle/>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11.2 Social and Emotional Development</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1.3 Individual Differences</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2.2  Prevention, Mental Health Promotion and Crisis Intervention</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2.1 Evidence-Based Decision Making and Accountability</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4.2 Ethical issues in professional practice</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5.2 Interviewing</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tc>
                  <a:txBody>
                    <a:bodyPr/>
                    <a:lstStyle/>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Professional Counseling Orientation and Ethical Practice</a:t>
                      </a:r>
                    </a:p>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Counseling and Helping Relationships</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Report writing</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extLst>
                  <a:ext uri="{0D108BD9-81ED-4DB2-BD59-A6C34878D82A}">
                    <a16:rowId xmlns:a16="http://schemas.microsoft.com/office/drawing/2014/main" val="2425017166"/>
                  </a:ext>
                </a:extLst>
              </a:tr>
              <a:tr h="532291">
                <a:tc>
                  <a:txBody>
                    <a:bodyPr/>
                    <a:lstStyle/>
                    <a:p>
                      <a:pPr marL="342900" marR="0" lvl="0" indent="-342900" algn="ctr">
                        <a:lnSpc>
                          <a:spcPct val="130000"/>
                        </a:lnSpc>
                        <a:spcBef>
                          <a:spcPts val="0"/>
                        </a:spcBef>
                        <a:spcAft>
                          <a:spcPts val="0"/>
                        </a:spcAft>
                        <a:buFont typeface="+mj-lt"/>
                        <a:buAutoNum type="arabicPeriod"/>
                      </a:pPr>
                      <a:r>
                        <a:rPr lang="en-US" sz="1300">
                          <a:effectLst/>
                          <a:latin typeface="Times New Roman" panose="02020603050405020304" pitchFamily="18" charset="0"/>
                          <a:cs typeface="Times New Roman" panose="02020603050405020304" pitchFamily="18" charset="0"/>
                        </a:rPr>
                        <a:t> </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nchor="ctr"/>
                </a:tc>
                <a:tc>
                  <a:txBody>
                    <a:bodyPr/>
                    <a:lstStyle/>
                    <a:p>
                      <a:pPr marL="0" marR="0" algn="ctr">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MSC</a:t>
                      </a:r>
                    </a:p>
                    <a:p>
                      <a:pPr marL="0" marR="0" algn="ctr">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7</a:t>
                      </a:r>
                      <a:r>
                        <a:rPr lang="en-US" sz="1300">
                          <a:effectLst/>
                          <a:latin typeface="Times New Roman" panose="02020603050405020304" pitchFamily="18" charset="0"/>
                          <a:cs typeface="Times New Roman" panose="02020603050405020304" pitchFamily="18" charset="0"/>
                        </a:rPr>
                        <a:t>021</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tc>
                  <a:txBody>
                    <a:bodyPr/>
                    <a:lstStyle/>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Master Thesis</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tc>
                  <a:txBody>
                    <a:bodyPr/>
                    <a:lstStyle/>
                    <a:p>
                      <a:pPr marL="0" marR="0" algn="ctr">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15</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nchor="ctr"/>
                </a:tc>
                <a:tc>
                  <a:txBody>
                    <a:bodyPr/>
                    <a:lstStyle/>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6.1 Research design and implementation</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vi-VN" sz="1300">
                          <a:effectLst/>
                          <a:latin typeface="Times New Roman" panose="02020603050405020304" pitchFamily="18" charset="0"/>
                          <a:cs typeface="Times New Roman" panose="02020603050405020304" pitchFamily="18" charset="0"/>
                        </a:rPr>
                        <a:t>6.2 Analysis and interpretation of research findings</a:t>
                      </a:r>
                      <a:endParaRPr lang="en-US" sz="13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300">
                          <a:effectLst/>
                          <a:latin typeface="Times New Roman" panose="02020603050405020304" pitchFamily="18" charset="0"/>
                          <a:cs typeface="Times New Roman" panose="02020603050405020304" pitchFamily="18" charset="0"/>
                        </a:rPr>
                        <a:t>4.3 Report writing</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tc>
                  <a:txBody>
                    <a:bodyPr/>
                    <a:lstStyle/>
                    <a:p>
                      <a:pPr marL="0" marR="0">
                        <a:lnSpc>
                          <a:spcPct val="130000"/>
                        </a:lnSpc>
                        <a:spcBef>
                          <a:spcPts val="0"/>
                        </a:spcBef>
                        <a:spcAft>
                          <a:spcPts val="0"/>
                        </a:spcAft>
                      </a:pPr>
                      <a:r>
                        <a:rPr lang="en-US" sz="1300" dirty="0">
                          <a:effectLst/>
                          <a:latin typeface="Times New Roman" panose="02020603050405020304" pitchFamily="18" charset="0"/>
                          <a:cs typeface="Times New Roman" panose="02020603050405020304" pitchFamily="18" charset="0"/>
                        </a:rPr>
                        <a:t>Research and Program Evaluation </a:t>
                      </a:r>
                    </a:p>
                    <a:p>
                      <a:pPr marL="0" marR="0">
                        <a:lnSpc>
                          <a:spcPct val="130000"/>
                        </a:lnSpc>
                        <a:spcBef>
                          <a:spcPts val="0"/>
                        </a:spcBef>
                        <a:spcAft>
                          <a:spcPts val="0"/>
                        </a:spcAft>
                      </a:pPr>
                      <a:r>
                        <a:rPr lang="en-US" sz="1300" dirty="0">
                          <a:effectLst/>
                          <a:latin typeface="Times New Roman" panose="02020603050405020304" pitchFamily="18" charset="0"/>
                          <a:cs typeface="Times New Roman" panose="02020603050405020304" pitchFamily="18" charset="0"/>
                        </a:rPr>
                        <a:t>Report writing</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048" marR="53048" marT="0" marB="0"/>
                </a:tc>
                <a:extLst>
                  <a:ext uri="{0D108BD9-81ED-4DB2-BD59-A6C34878D82A}">
                    <a16:rowId xmlns:a16="http://schemas.microsoft.com/office/drawing/2014/main" val="2869259528"/>
                  </a:ext>
                </a:extLst>
              </a:tr>
            </a:tbl>
          </a:graphicData>
        </a:graphic>
      </p:graphicFrame>
    </p:spTree>
    <p:extLst>
      <p:ext uri="{BB962C8B-B14F-4D97-AF65-F5344CB8AC3E}">
        <p14:creationId xmlns:p14="http://schemas.microsoft.com/office/powerpoint/2010/main" val="1055781354"/>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02C31A5-6731-4F0E-90B2-B3B98FCA956D}"/>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sz="6000" kern="1200" dirty="0">
                <a:solidFill>
                  <a:srgbClr val="FFFFFF"/>
                </a:solidFill>
                <a:latin typeface="+mj-lt"/>
                <a:ea typeface="+mj-ea"/>
                <a:cs typeface="+mj-cs"/>
              </a:rPr>
              <a:t>Course comparison</a:t>
            </a:r>
          </a:p>
        </p:txBody>
      </p:sp>
    </p:spTree>
    <p:extLst>
      <p:ext uri="{BB962C8B-B14F-4D97-AF65-F5344CB8AC3E}">
        <p14:creationId xmlns:p14="http://schemas.microsoft.com/office/powerpoint/2010/main" val="21965465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C328329C-5D7A-4E8A-A8F9-3F599FA4BF10}"/>
              </a:ext>
            </a:extLst>
          </p:cNvPr>
          <p:cNvGraphicFramePr>
            <a:graphicFrameLocks noChangeAspect="1"/>
          </p:cNvGraphicFramePr>
          <p:nvPr>
            <p:extLst>
              <p:ext uri="{D42A27DB-BD31-4B8C-83A1-F6EECF244321}">
                <p14:modId xmlns:p14="http://schemas.microsoft.com/office/powerpoint/2010/main" val="3416795225"/>
              </p:ext>
            </p:extLst>
          </p:nvPr>
        </p:nvGraphicFramePr>
        <p:xfrm>
          <a:off x="0" y="33337"/>
          <a:ext cx="12192000" cy="6791325"/>
        </p:xfrm>
        <a:graphic>
          <a:graphicData uri="http://schemas.openxmlformats.org/presentationml/2006/ole">
            <mc:AlternateContent xmlns:mc="http://schemas.openxmlformats.org/markup-compatibility/2006">
              <mc:Choice xmlns:v="urn:schemas-microsoft-com:vml" Requires="v">
                <p:oleObj spid="_x0000_s1026" name="Document" r:id="rId4" imgW="9144000" imgH="6791339" progId="Word.Document.12">
                  <p:embed/>
                </p:oleObj>
              </mc:Choice>
              <mc:Fallback>
                <p:oleObj name="Document" r:id="rId4" imgW="9144000" imgH="6791339" progId="Word.Document.12">
                  <p:embed/>
                  <p:pic>
                    <p:nvPicPr>
                      <p:cNvPr id="6" name="Object 5">
                        <a:extLst>
                          <a:ext uri="{FF2B5EF4-FFF2-40B4-BE49-F238E27FC236}">
                            <a16:creationId xmlns:a16="http://schemas.microsoft.com/office/drawing/2014/main" id="{C328329C-5D7A-4E8A-A8F9-3F599FA4BF10}"/>
                          </a:ext>
                        </a:extLst>
                      </p:cNvPr>
                      <p:cNvPicPr/>
                      <p:nvPr/>
                    </p:nvPicPr>
                    <p:blipFill>
                      <a:blip r:embed="rId5"/>
                      <a:stretch>
                        <a:fillRect/>
                      </a:stretch>
                    </p:blipFill>
                    <p:spPr>
                      <a:xfrm>
                        <a:off x="0" y="33337"/>
                        <a:ext cx="12192000" cy="6791325"/>
                      </a:xfrm>
                      <a:prstGeom prst="rect">
                        <a:avLst/>
                      </a:prstGeom>
                    </p:spPr>
                  </p:pic>
                </p:oleObj>
              </mc:Fallback>
            </mc:AlternateContent>
          </a:graphicData>
        </a:graphic>
      </p:graphicFrame>
    </p:spTree>
    <p:extLst>
      <p:ext uri="{BB962C8B-B14F-4D97-AF65-F5344CB8AC3E}">
        <p14:creationId xmlns:p14="http://schemas.microsoft.com/office/powerpoint/2010/main" val="27566529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E33F3172-424F-47AD-882D-5F61687FA7A6}"/>
              </a:ext>
            </a:extLst>
          </p:cNvPr>
          <p:cNvGraphicFramePr>
            <a:graphicFrameLocks noChangeAspect="1"/>
          </p:cNvGraphicFramePr>
          <p:nvPr>
            <p:extLst>
              <p:ext uri="{D42A27DB-BD31-4B8C-83A1-F6EECF244321}">
                <p14:modId xmlns:p14="http://schemas.microsoft.com/office/powerpoint/2010/main" val="2430445393"/>
              </p:ext>
            </p:extLst>
          </p:nvPr>
        </p:nvGraphicFramePr>
        <p:xfrm>
          <a:off x="0" y="28575"/>
          <a:ext cx="12192000" cy="6799263"/>
        </p:xfrm>
        <a:graphic>
          <a:graphicData uri="http://schemas.openxmlformats.org/presentationml/2006/ole">
            <mc:AlternateContent xmlns:mc="http://schemas.openxmlformats.org/markup-compatibility/2006">
              <mc:Choice xmlns:v="urn:schemas-microsoft-com:vml" Requires="v">
                <p:oleObj spid="_x0000_s2050" name="Document" r:id="rId3" imgW="9144000" imgH="6799014" progId="Word.Document.12">
                  <p:embed/>
                </p:oleObj>
              </mc:Choice>
              <mc:Fallback>
                <p:oleObj name="Document" r:id="rId3" imgW="9144000" imgH="6799014" progId="Word.Document.12">
                  <p:embed/>
                  <p:pic>
                    <p:nvPicPr>
                      <p:cNvPr id="3" name="Object 2">
                        <a:extLst>
                          <a:ext uri="{FF2B5EF4-FFF2-40B4-BE49-F238E27FC236}">
                            <a16:creationId xmlns:a16="http://schemas.microsoft.com/office/drawing/2014/main" id="{E33F3172-424F-47AD-882D-5F61687FA7A6}"/>
                          </a:ext>
                        </a:extLst>
                      </p:cNvPr>
                      <p:cNvPicPr/>
                      <p:nvPr/>
                    </p:nvPicPr>
                    <p:blipFill>
                      <a:blip r:embed="rId4"/>
                      <a:stretch>
                        <a:fillRect/>
                      </a:stretch>
                    </p:blipFill>
                    <p:spPr>
                      <a:xfrm>
                        <a:off x="0" y="28575"/>
                        <a:ext cx="12192000" cy="6799263"/>
                      </a:xfrm>
                      <a:prstGeom prst="rect">
                        <a:avLst/>
                      </a:prstGeom>
                    </p:spPr>
                  </p:pic>
                </p:oleObj>
              </mc:Fallback>
            </mc:AlternateContent>
          </a:graphicData>
        </a:graphic>
      </p:graphicFrame>
    </p:spTree>
    <p:extLst>
      <p:ext uri="{BB962C8B-B14F-4D97-AF65-F5344CB8AC3E}">
        <p14:creationId xmlns:p14="http://schemas.microsoft.com/office/powerpoint/2010/main" val="20744510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5F3416-F585-4887-8CFE-FDB432406C6E}"/>
              </a:ext>
            </a:extLst>
          </p:cNvPr>
          <p:cNvPicPr>
            <a:picLocks noChangeAspect="1"/>
          </p:cNvPicPr>
          <p:nvPr/>
        </p:nvPicPr>
        <p:blipFill>
          <a:blip r:embed="rId3"/>
          <a:stretch>
            <a:fillRect/>
          </a:stretch>
        </p:blipFill>
        <p:spPr>
          <a:xfrm>
            <a:off x="599607" y="11599"/>
            <a:ext cx="11032759" cy="6846401"/>
          </a:xfrm>
          <a:prstGeom prst="rect">
            <a:avLst/>
          </a:prstGeom>
        </p:spPr>
      </p:pic>
    </p:spTree>
    <p:extLst>
      <p:ext uri="{BB962C8B-B14F-4D97-AF65-F5344CB8AC3E}">
        <p14:creationId xmlns:p14="http://schemas.microsoft.com/office/powerpoint/2010/main" val="29323301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41AB36-3404-4B7C-B482-560918E44AA7}"/>
              </a:ext>
            </a:extLst>
          </p:cNvPr>
          <p:cNvPicPr>
            <a:picLocks noChangeAspect="1"/>
          </p:cNvPicPr>
          <p:nvPr/>
        </p:nvPicPr>
        <p:blipFill>
          <a:blip r:embed="rId2"/>
          <a:stretch>
            <a:fillRect/>
          </a:stretch>
        </p:blipFill>
        <p:spPr>
          <a:xfrm>
            <a:off x="244163" y="1302059"/>
            <a:ext cx="11703674" cy="3914540"/>
          </a:xfrm>
          <a:prstGeom prst="rect">
            <a:avLst/>
          </a:prstGeom>
        </p:spPr>
      </p:pic>
    </p:spTree>
    <p:extLst>
      <p:ext uri="{BB962C8B-B14F-4D97-AF65-F5344CB8AC3E}">
        <p14:creationId xmlns:p14="http://schemas.microsoft.com/office/powerpoint/2010/main" val="18751788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02C31A5-6731-4F0E-90B2-B3B98FCA956D}"/>
              </a:ext>
            </a:extLst>
          </p:cNvPr>
          <p:cNvSpPr>
            <a:spLocks noGrp="1"/>
          </p:cNvSpPr>
          <p:nvPr>
            <p:ph type="title"/>
          </p:nvPr>
        </p:nvSpPr>
        <p:spPr>
          <a:xfrm>
            <a:off x="3045368" y="2043663"/>
            <a:ext cx="6105194" cy="2031055"/>
          </a:xfrm>
        </p:spPr>
        <p:txBody>
          <a:bodyPr vert="horz" lIns="91440" tIns="45720" rIns="91440" bIns="45720" rtlCol="0" anchor="b">
            <a:normAutofit fontScale="90000"/>
          </a:bodyPr>
          <a:lstStyle/>
          <a:p>
            <a:pPr algn="ctr"/>
            <a:r>
              <a:rPr lang="en-US" sz="6000" dirty="0">
                <a:solidFill>
                  <a:srgbClr val="FFFFFF"/>
                </a:solidFill>
              </a:rPr>
              <a:t>Benchmark teaching contents and methods</a:t>
            </a:r>
            <a:endParaRPr lang="en-US" sz="6000" kern="1200" dirty="0">
              <a:solidFill>
                <a:srgbClr val="FFFFFF"/>
              </a:solidFill>
              <a:latin typeface="+mj-lt"/>
              <a:ea typeface="+mj-ea"/>
              <a:cs typeface="+mj-cs"/>
            </a:endParaRPr>
          </a:p>
        </p:txBody>
      </p:sp>
    </p:spTree>
    <p:extLst>
      <p:ext uri="{BB962C8B-B14F-4D97-AF65-F5344CB8AC3E}">
        <p14:creationId xmlns:p14="http://schemas.microsoft.com/office/powerpoint/2010/main" val="26795785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close up of text on a white background&#10;&#10;Description automatically generated">
            <a:extLst>
              <a:ext uri="{FF2B5EF4-FFF2-40B4-BE49-F238E27FC236}">
                <a16:creationId xmlns:a16="http://schemas.microsoft.com/office/drawing/2014/main" id="{1F6F6167-A338-466C-940E-2927082BA703}"/>
              </a:ext>
            </a:extLst>
          </p:cNvPr>
          <p:cNvPicPr>
            <a:picLocks noChangeAspect="1"/>
          </p:cNvPicPr>
          <p:nvPr/>
        </p:nvPicPr>
        <p:blipFill rotWithShape="1">
          <a:blip r:embed="rId3"/>
          <a:srcRect r="17777" b="-1"/>
          <a:stretch/>
        </p:blipFill>
        <p:spPr>
          <a:xfrm>
            <a:off x="20" y="10"/>
            <a:ext cx="12191980" cy="6857990"/>
          </a:xfrm>
          <a:prstGeom prst="rect">
            <a:avLst/>
          </a:prstGeom>
        </p:spPr>
      </p:pic>
    </p:spTree>
    <p:extLst>
      <p:ext uri="{BB962C8B-B14F-4D97-AF65-F5344CB8AC3E}">
        <p14:creationId xmlns:p14="http://schemas.microsoft.com/office/powerpoint/2010/main" val="3052542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1322825"/>
            <a:ext cx="12271238" cy="8180825"/>
          </a:xfrm>
          <a:prstGeom prst="rect">
            <a:avLst/>
          </a:prstGeom>
        </p:spPr>
      </p:pic>
      <p:sp>
        <p:nvSpPr>
          <p:cNvPr id="5" name="Rectangle 4">
            <a:extLst>
              <a:ext uri="{FF2B5EF4-FFF2-40B4-BE49-F238E27FC236}">
                <a16:creationId xmlns:a16="http://schemas.microsoft.com/office/drawing/2014/main" id="{27483AC1-6216-4D84-A054-23453785D3C5}"/>
              </a:ext>
            </a:extLst>
          </p:cNvPr>
          <p:cNvSpPr/>
          <p:nvPr/>
        </p:nvSpPr>
        <p:spPr>
          <a:xfrm>
            <a:off x="-180099" y="109783"/>
            <a:ext cx="12271239" cy="6858000"/>
          </a:xfrm>
          <a:prstGeom prst="rect">
            <a:avLst/>
          </a:prstGeom>
          <a:solidFill>
            <a:schemeClr val="tx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p:cNvGrpSpPr/>
          <p:nvPr/>
        </p:nvGrpSpPr>
        <p:grpSpPr>
          <a:xfrm>
            <a:off x="-802464" y="-2073229"/>
            <a:ext cx="5941212" cy="6777919"/>
            <a:chOff x="-1134706" y="-2277195"/>
            <a:chExt cx="5941212" cy="6777919"/>
          </a:xfrm>
        </p:grpSpPr>
        <p:sp>
          <p:nvSpPr>
            <p:cNvPr id="4" name="Freeform 5"/>
            <p:cNvSpPr>
              <a:spLocks/>
            </p:cNvSpPr>
            <p:nvPr/>
          </p:nvSpPr>
          <p:spPr bwMode="auto">
            <a:xfrm>
              <a:off x="-1134706" y="-2277195"/>
              <a:ext cx="5941212" cy="6777919"/>
            </a:xfrm>
            <a:custGeom>
              <a:avLst/>
              <a:gdLst>
                <a:gd name="T0" fmla="*/ 318 w 341"/>
                <a:gd name="T1" fmla="*/ 303 h 383"/>
                <a:gd name="T2" fmla="*/ 193 w 341"/>
                <a:gd name="T3" fmla="*/ 375 h 383"/>
                <a:gd name="T4" fmla="*/ 148 w 341"/>
                <a:gd name="T5" fmla="*/ 375 h 383"/>
                <a:gd name="T6" fmla="*/ 23 w 341"/>
                <a:gd name="T7" fmla="*/ 303 h 383"/>
                <a:gd name="T8" fmla="*/ 0 w 341"/>
                <a:gd name="T9" fmla="*/ 264 h 383"/>
                <a:gd name="T10" fmla="*/ 0 w 341"/>
                <a:gd name="T11" fmla="*/ 120 h 383"/>
                <a:gd name="T12" fmla="*/ 23 w 341"/>
                <a:gd name="T13" fmla="*/ 80 h 383"/>
                <a:gd name="T14" fmla="*/ 148 w 341"/>
                <a:gd name="T15" fmla="*/ 8 h 383"/>
                <a:gd name="T16" fmla="*/ 193 w 341"/>
                <a:gd name="T17" fmla="*/ 8 h 383"/>
                <a:gd name="T18" fmla="*/ 318 w 341"/>
                <a:gd name="T19" fmla="*/ 80 h 383"/>
                <a:gd name="T20" fmla="*/ 341 w 341"/>
                <a:gd name="T21" fmla="*/ 120 h 383"/>
                <a:gd name="T22" fmla="*/ 341 w 341"/>
                <a:gd name="T23" fmla="*/ 264 h 383"/>
                <a:gd name="T24" fmla="*/ 318 w 341"/>
                <a:gd name="T25" fmla="*/ 30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383">
                  <a:moveTo>
                    <a:pt x="318" y="303"/>
                  </a:moveTo>
                  <a:cubicBezTo>
                    <a:pt x="193" y="375"/>
                    <a:pt x="193" y="375"/>
                    <a:pt x="193" y="375"/>
                  </a:cubicBezTo>
                  <a:cubicBezTo>
                    <a:pt x="179" y="383"/>
                    <a:pt x="162" y="383"/>
                    <a:pt x="148" y="375"/>
                  </a:cubicBezTo>
                  <a:cubicBezTo>
                    <a:pt x="23" y="303"/>
                    <a:pt x="23" y="303"/>
                    <a:pt x="23" y="303"/>
                  </a:cubicBezTo>
                  <a:cubicBezTo>
                    <a:pt x="9" y="295"/>
                    <a:pt x="0" y="280"/>
                    <a:pt x="0" y="264"/>
                  </a:cubicBezTo>
                  <a:cubicBezTo>
                    <a:pt x="0" y="120"/>
                    <a:pt x="0" y="120"/>
                    <a:pt x="0" y="120"/>
                  </a:cubicBezTo>
                  <a:cubicBezTo>
                    <a:pt x="0" y="103"/>
                    <a:pt x="9" y="88"/>
                    <a:pt x="23" y="80"/>
                  </a:cubicBezTo>
                  <a:cubicBezTo>
                    <a:pt x="148" y="8"/>
                    <a:pt x="148" y="8"/>
                    <a:pt x="148" y="8"/>
                  </a:cubicBezTo>
                  <a:cubicBezTo>
                    <a:pt x="162" y="0"/>
                    <a:pt x="179" y="0"/>
                    <a:pt x="193" y="8"/>
                  </a:cubicBezTo>
                  <a:cubicBezTo>
                    <a:pt x="318" y="80"/>
                    <a:pt x="318" y="80"/>
                    <a:pt x="318" y="80"/>
                  </a:cubicBezTo>
                  <a:cubicBezTo>
                    <a:pt x="332" y="88"/>
                    <a:pt x="341" y="103"/>
                    <a:pt x="341" y="120"/>
                  </a:cubicBezTo>
                  <a:cubicBezTo>
                    <a:pt x="341" y="264"/>
                    <a:pt x="341" y="264"/>
                    <a:pt x="341" y="264"/>
                  </a:cubicBezTo>
                  <a:cubicBezTo>
                    <a:pt x="341" y="280"/>
                    <a:pt x="332" y="295"/>
                    <a:pt x="318" y="303"/>
                  </a:cubicBezTo>
                </a:path>
              </a:pathLst>
            </a:custGeom>
            <a:solidFill>
              <a:srgbClr val="00658B">
                <a:alpha val="84000"/>
              </a:srgbClr>
            </a:solidFill>
            <a:ln>
              <a:noFill/>
            </a:ln>
            <a:effectLst>
              <a:outerShdw blurRad="203200" sx="102000" sy="102000" algn="ctr" rotWithShape="0">
                <a:prstClr val="black">
                  <a:alpha val="64000"/>
                </a:prstClr>
              </a:outerShdw>
            </a:effectLst>
          </p:spPr>
          <p:txBody>
            <a:bodyPr vert="horz" wrap="square" lIns="51435" tIns="25718" rIns="51435" bIns="25718" numCol="1" anchor="t" anchorCtr="0" compatLnSpc="1">
              <a:prstTxWarp prst="textNoShape">
                <a:avLst/>
              </a:prstTxWarp>
            </a:bodyPr>
            <a:lstStyle/>
            <a:p>
              <a:endParaRPr lang="en-US" sz="1013"/>
            </a:p>
          </p:txBody>
        </p:sp>
        <p:sp>
          <p:nvSpPr>
            <p:cNvPr id="14" name="Rectangle 13"/>
            <p:cNvSpPr/>
            <p:nvPr/>
          </p:nvSpPr>
          <p:spPr>
            <a:xfrm>
              <a:off x="306272" y="728366"/>
              <a:ext cx="4066032" cy="584775"/>
            </a:xfrm>
            <a:prstGeom prst="rect">
              <a:avLst/>
            </a:prstGeom>
          </p:spPr>
          <p:txBody>
            <a:bodyPr wrap="square">
              <a:spAutoFit/>
            </a:bodyPr>
            <a:lstStyle/>
            <a:p>
              <a:r>
                <a:rPr lang="de-DE" sz="3200" b="1" dirty="0">
                  <a:solidFill>
                    <a:schemeClr val="bg1"/>
                  </a:solidFill>
                  <a:latin typeface="Fira Sans"/>
                  <a:ea typeface="Fira Sans" charset="0"/>
                  <a:cs typeface="Calibri" panose="020F0502020204030204" pitchFamily="34" charset="0"/>
                </a:rPr>
                <a:t>BACKGROUND</a:t>
              </a:r>
            </a:p>
          </p:txBody>
        </p:sp>
      </p:grpSp>
      <p:sp>
        <p:nvSpPr>
          <p:cNvPr id="2" name="Rectangle 1"/>
          <p:cNvSpPr/>
          <p:nvPr/>
        </p:nvSpPr>
        <p:spPr>
          <a:xfrm>
            <a:off x="5156884" y="1761291"/>
            <a:ext cx="6586220" cy="2524281"/>
          </a:xfrm>
          <a:prstGeom prst="rect">
            <a:avLst/>
          </a:prstGeom>
        </p:spPr>
        <p:txBody>
          <a:bodyPr wrap="square">
            <a:spAutoFit/>
          </a:bodyPr>
          <a:lstStyle/>
          <a:p>
            <a:pPr>
              <a:lnSpc>
                <a:spcPts val="2700"/>
              </a:lnSpc>
            </a:pPr>
            <a:r>
              <a:rPr lang="en-US" sz="2800" dirty="0">
                <a:solidFill>
                  <a:schemeClr val="bg1"/>
                </a:solidFill>
              </a:rPr>
              <a:t>10% to 20% of students with mental health problems or other psychological difficulties (Tran.,2014)</a:t>
            </a:r>
          </a:p>
          <a:p>
            <a:pPr>
              <a:lnSpc>
                <a:spcPts val="2700"/>
              </a:lnSpc>
            </a:pPr>
            <a:endParaRPr lang="en-US" sz="2800" dirty="0">
              <a:solidFill>
                <a:schemeClr val="bg1"/>
              </a:solidFill>
            </a:endParaRPr>
          </a:p>
          <a:p>
            <a:pPr>
              <a:lnSpc>
                <a:spcPts val="2700"/>
              </a:lnSpc>
            </a:pPr>
            <a:r>
              <a:rPr lang="en-US" sz="2800" dirty="0">
                <a:solidFill>
                  <a:schemeClr val="bg1"/>
                </a:solidFill>
              </a:rPr>
              <a:t>60-80% of the students are in need of counseling about their emotional, learning problems, and career guidance (Bui, 2014).</a:t>
            </a:r>
          </a:p>
        </p:txBody>
      </p:sp>
      <p:grpSp>
        <p:nvGrpSpPr>
          <p:cNvPr id="7" name="Group 6"/>
          <p:cNvGrpSpPr/>
          <p:nvPr/>
        </p:nvGrpSpPr>
        <p:grpSpPr>
          <a:xfrm>
            <a:off x="3001572" y="2173045"/>
            <a:ext cx="2027203" cy="2277471"/>
            <a:chOff x="3365983" y="2407507"/>
            <a:chExt cx="2027203" cy="2277471"/>
          </a:xfrm>
        </p:grpSpPr>
        <p:sp>
          <p:nvSpPr>
            <p:cNvPr id="16" name="Freeform 5"/>
            <p:cNvSpPr>
              <a:spLocks noChangeAspect="1"/>
            </p:cNvSpPr>
            <p:nvPr/>
          </p:nvSpPr>
          <p:spPr bwMode="auto">
            <a:xfrm>
              <a:off x="3365983" y="2407507"/>
              <a:ext cx="2027203" cy="2277471"/>
            </a:xfrm>
            <a:custGeom>
              <a:avLst/>
              <a:gdLst>
                <a:gd name="T0" fmla="*/ 318 w 341"/>
                <a:gd name="T1" fmla="*/ 303 h 383"/>
                <a:gd name="T2" fmla="*/ 193 w 341"/>
                <a:gd name="T3" fmla="*/ 375 h 383"/>
                <a:gd name="T4" fmla="*/ 148 w 341"/>
                <a:gd name="T5" fmla="*/ 375 h 383"/>
                <a:gd name="T6" fmla="*/ 23 w 341"/>
                <a:gd name="T7" fmla="*/ 303 h 383"/>
                <a:gd name="T8" fmla="*/ 0 w 341"/>
                <a:gd name="T9" fmla="*/ 264 h 383"/>
                <a:gd name="T10" fmla="*/ 0 w 341"/>
                <a:gd name="T11" fmla="*/ 120 h 383"/>
                <a:gd name="T12" fmla="*/ 23 w 341"/>
                <a:gd name="T13" fmla="*/ 80 h 383"/>
                <a:gd name="T14" fmla="*/ 148 w 341"/>
                <a:gd name="T15" fmla="*/ 8 h 383"/>
                <a:gd name="T16" fmla="*/ 193 w 341"/>
                <a:gd name="T17" fmla="*/ 8 h 383"/>
                <a:gd name="T18" fmla="*/ 318 w 341"/>
                <a:gd name="T19" fmla="*/ 80 h 383"/>
                <a:gd name="T20" fmla="*/ 341 w 341"/>
                <a:gd name="T21" fmla="*/ 120 h 383"/>
                <a:gd name="T22" fmla="*/ 341 w 341"/>
                <a:gd name="T23" fmla="*/ 264 h 383"/>
                <a:gd name="T24" fmla="*/ 318 w 341"/>
                <a:gd name="T25" fmla="*/ 30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383">
                  <a:moveTo>
                    <a:pt x="318" y="303"/>
                  </a:moveTo>
                  <a:cubicBezTo>
                    <a:pt x="193" y="375"/>
                    <a:pt x="193" y="375"/>
                    <a:pt x="193" y="375"/>
                  </a:cubicBezTo>
                  <a:cubicBezTo>
                    <a:pt x="179" y="383"/>
                    <a:pt x="162" y="383"/>
                    <a:pt x="148" y="375"/>
                  </a:cubicBezTo>
                  <a:cubicBezTo>
                    <a:pt x="23" y="303"/>
                    <a:pt x="23" y="303"/>
                    <a:pt x="23" y="303"/>
                  </a:cubicBezTo>
                  <a:cubicBezTo>
                    <a:pt x="9" y="295"/>
                    <a:pt x="0" y="280"/>
                    <a:pt x="0" y="264"/>
                  </a:cubicBezTo>
                  <a:cubicBezTo>
                    <a:pt x="0" y="120"/>
                    <a:pt x="0" y="120"/>
                    <a:pt x="0" y="120"/>
                  </a:cubicBezTo>
                  <a:cubicBezTo>
                    <a:pt x="0" y="103"/>
                    <a:pt x="9" y="88"/>
                    <a:pt x="23" y="80"/>
                  </a:cubicBezTo>
                  <a:cubicBezTo>
                    <a:pt x="148" y="8"/>
                    <a:pt x="148" y="8"/>
                    <a:pt x="148" y="8"/>
                  </a:cubicBezTo>
                  <a:cubicBezTo>
                    <a:pt x="162" y="0"/>
                    <a:pt x="179" y="0"/>
                    <a:pt x="193" y="8"/>
                  </a:cubicBezTo>
                  <a:cubicBezTo>
                    <a:pt x="318" y="80"/>
                    <a:pt x="318" y="80"/>
                    <a:pt x="318" y="80"/>
                  </a:cubicBezTo>
                  <a:cubicBezTo>
                    <a:pt x="332" y="88"/>
                    <a:pt x="341" y="103"/>
                    <a:pt x="341" y="120"/>
                  </a:cubicBezTo>
                  <a:cubicBezTo>
                    <a:pt x="341" y="264"/>
                    <a:pt x="341" y="264"/>
                    <a:pt x="341" y="264"/>
                  </a:cubicBezTo>
                  <a:cubicBezTo>
                    <a:pt x="341" y="280"/>
                    <a:pt x="332" y="295"/>
                    <a:pt x="318" y="303"/>
                  </a:cubicBezTo>
                </a:path>
              </a:pathLst>
            </a:custGeom>
            <a:solidFill>
              <a:srgbClr val="F3BE1A"/>
            </a:solidFill>
            <a:ln>
              <a:noFill/>
            </a:ln>
            <a:effectLst>
              <a:outerShdw blurRad="203200" sx="102000" sy="102000" algn="ctr" rotWithShape="0">
                <a:prstClr val="black">
                  <a:alpha val="34000"/>
                </a:prstClr>
              </a:outerShdw>
            </a:effectLst>
          </p:spPr>
          <p:txBody>
            <a:bodyPr vert="horz" wrap="square" lIns="51435" tIns="25718" rIns="51435" bIns="25718" numCol="1" anchor="t" anchorCtr="0" compatLnSpc="1">
              <a:prstTxWarp prst="textNoShape">
                <a:avLst/>
              </a:prstTxWarp>
            </a:bodyPr>
            <a:lstStyle/>
            <a:p>
              <a:endParaRPr lang="en-US" sz="1013"/>
            </a:p>
          </p:txBody>
        </p:sp>
        <p:sp>
          <p:nvSpPr>
            <p:cNvPr id="19" name="Freeform 18"/>
            <p:cNvSpPr/>
            <p:nvPr/>
          </p:nvSpPr>
          <p:spPr>
            <a:xfrm>
              <a:off x="4027936" y="2723442"/>
              <a:ext cx="784544" cy="1663378"/>
            </a:xfrm>
            <a:custGeom>
              <a:avLst/>
              <a:gdLst>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14400 w 3243072"/>
                <a:gd name="connsiteY17" fmla="*/ 207264 h 6815328"/>
                <a:gd name="connsiteX18" fmla="*/ 950976 w 3243072"/>
                <a:gd name="connsiteY18" fmla="*/ 304800 h 6815328"/>
                <a:gd name="connsiteX19" fmla="*/ 1097280 w 3243072"/>
                <a:gd name="connsiteY19" fmla="*/ 219456 h 6815328"/>
                <a:gd name="connsiteX20" fmla="*/ 1146048 w 3243072"/>
                <a:gd name="connsiteY20" fmla="*/ 243840 h 6815328"/>
                <a:gd name="connsiteX21" fmla="*/ 1146048 w 3243072"/>
                <a:gd name="connsiteY21" fmla="*/ 243840 h 6815328"/>
                <a:gd name="connsiteX22" fmla="*/ 1158240 w 3243072"/>
                <a:gd name="connsiteY22" fmla="*/ 134112 h 6815328"/>
                <a:gd name="connsiteX23" fmla="*/ 1231392 w 3243072"/>
                <a:gd name="connsiteY23" fmla="*/ 60960 h 6815328"/>
                <a:gd name="connsiteX24" fmla="*/ 1341120 w 3243072"/>
                <a:gd name="connsiteY24" fmla="*/ 36576 h 6815328"/>
                <a:gd name="connsiteX25" fmla="*/ 1377696 w 3243072"/>
                <a:gd name="connsiteY25" fmla="*/ 0 h 6815328"/>
                <a:gd name="connsiteX26" fmla="*/ 1511808 w 3243072"/>
                <a:gd name="connsiteY26" fmla="*/ 121920 h 6815328"/>
                <a:gd name="connsiteX27" fmla="*/ 1511808 w 3243072"/>
                <a:gd name="connsiteY27" fmla="*/ 121920 h 6815328"/>
                <a:gd name="connsiteX28" fmla="*/ 1633728 w 3243072"/>
                <a:gd name="connsiteY28" fmla="*/ 195072 h 6815328"/>
                <a:gd name="connsiteX29" fmla="*/ 1682496 w 3243072"/>
                <a:gd name="connsiteY29" fmla="*/ 158496 h 6815328"/>
                <a:gd name="connsiteX30" fmla="*/ 1755648 w 3243072"/>
                <a:gd name="connsiteY30" fmla="*/ 158496 h 6815328"/>
                <a:gd name="connsiteX31" fmla="*/ 1816608 w 3243072"/>
                <a:gd name="connsiteY31" fmla="*/ 207264 h 6815328"/>
                <a:gd name="connsiteX32" fmla="*/ 1889760 w 3243072"/>
                <a:gd name="connsiteY32" fmla="*/ 195072 h 6815328"/>
                <a:gd name="connsiteX33" fmla="*/ 1975104 w 3243072"/>
                <a:gd name="connsiteY33" fmla="*/ 256032 h 6815328"/>
                <a:gd name="connsiteX34" fmla="*/ 2036064 w 3243072"/>
                <a:gd name="connsiteY34" fmla="*/ 256032 h 6815328"/>
                <a:gd name="connsiteX35" fmla="*/ 1999488 w 3243072"/>
                <a:gd name="connsiteY35" fmla="*/ 365760 h 6815328"/>
                <a:gd name="connsiteX36" fmla="*/ 1938528 w 3243072"/>
                <a:gd name="connsiteY36" fmla="*/ 377952 h 6815328"/>
                <a:gd name="connsiteX37" fmla="*/ 1962912 w 3243072"/>
                <a:gd name="connsiteY37" fmla="*/ 487680 h 6815328"/>
                <a:gd name="connsiteX38" fmla="*/ 1999488 w 3243072"/>
                <a:gd name="connsiteY38" fmla="*/ 499872 h 6815328"/>
                <a:gd name="connsiteX39" fmla="*/ 1975104 w 3243072"/>
                <a:gd name="connsiteY39" fmla="*/ 609600 h 6815328"/>
                <a:gd name="connsiteX40" fmla="*/ 2023872 w 3243072"/>
                <a:gd name="connsiteY40" fmla="*/ 633984 h 6815328"/>
                <a:gd name="connsiteX41" fmla="*/ 2072640 w 3243072"/>
                <a:gd name="connsiteY41" fmla="*/ 621792 h 6815328"/>
                <a:gd name="connsiteX42" fmla="*/ 2121408 w 3243072"/>
                <a:gd name="connsiteY42" fmla="*/ 633984 h 6815328"/>
                <a:gd name="connsiteX43" fmla="*/ 2145792 w 3243072"/>
                <a:gd name="connsiteY43" fmla="*/ 719328 h 6815328"/>
                <a:gd name="connsiteX44" fmla="*/ 2145792 w 3243072"/>
                <a:gd name="connsiteY44" fmla="*/ 719328 h 6815328"/>
                <a:gd name="connsiteX45" fmla="*/ 2304288 w 3243072"/>
                <a:gd name="connsiteY45" fmla="*/ 743712 h 6815328"/>
                <a:gd name="connsiteX46" fmla="*/ 2328672 w 3243072"/>
                <a:gd name="connsiteY46" fmla="*/ 780288 h 6815328"/>
                <a:gd name="connsiteX47" fmla="*/ 2401824 w 3243072"/>
                <a:gd name="connsiteY47" fmla="*/ 768096 h 6815328"/>
                <a:gd name="connsiteX48" fmla="*/ 2438400 w 3243072"/>
                <a:gd name="connsiteY48" fmla="*/ 768096 h 6815328"/>
                <a:gd name="connsiteX49" fmla="*/ 2535936 w 3243072"/>
                <a:gd name="connsiteY49" fmla="*/ 829056 h 6815328"/>
                <a:gd name="connsiteX50" fmla="*/ 2523744 w 3243072"/>
                <a:gd name="connsiteY50" fmla="*/ 877824 h 6815328"/>
                <a:gd name="connsiteX51" fmla="*/ 2487168 w 3243072"/>
                <a:gd name="connsiteY51" fmla="*/ 877824 h 6815328"/>
                <a:gd name="connsiteX52" fmla="*/ 2426208 w 3243072"/>
                <a:gd name="connsiteY52" fmla="*/ 914400 h 6815328"/>
                <a:gd name="connsiteX53" fmla="*/ 2353056 w 3243072"/>
                <a:gd name="connsiteY53" fmla="*/ 963168 h 6815328"/>
                <a:gd name="connsiteX54" fmla="*/ 2316480 w 3243072"/>
                <a:gd name="connsiteY54" fmla="*/ 1036320 h 6815328"/>
                <a:gd name="connsiteX55" fmla="*/ 2255520 w 3243072"/>
                <a:gd name="connsiteY55" fmla="*/ 1097280 h 6815328"/>
                <a:gd name="connsiteX56" fmla="*/ 2255520 w 3243072"/>
                <a:gd name="connsiteY56" fmla="*/ 1097280 h 6815328"/>
                <a:gd name="connsiteX57" fmla="*/ 2097024 w 3243072"/>
                <a:gd name="connsiteY57" fmla="*/ 1121664 h 6815328"/>
                <a:gd name="connsiteX58" fmla="*/ 2011680 w 3243072"/>
                <a:gd name="connsiteY58" fmla="*/ 1158240 h 6815328"/>
                <a:gd name="connsiteX59" fmla="*/ 1999488 w 3243072"/>
                <a:gd name="connsiteY59" fmla="*/ 1219200 h 6815328"/>
                <a:gd name="connsiteX60" fmla="*/ 1975104 w 3243072"/>
                <a:gd name="connsiteY60" fmla="*/ 1280160 h 6815328"/>
                <a:gd name="connsiteX61" fmla="*/ 1938528 w 3243072"/>
                <a:gd name="connsiteY61" fmla="*/ 1389888 h 6815328"/>
                <a:gd name="connsiteX62" fmla="*/ 1901952 w 3243072"/>
                <a:gd name="connsiteY62" fmla="*/ 1426464 h 6815328"/>
                <a:gd name="connsiteX63" fmla="*/ 1853184 w 3243072"/>
                <a:gd name="connsiteY63" fmla="*/ 1499616 h 6815328"/>
                <a:gd name="connsiteX64" fmla="*/ 1853184 w 3243072"/>
                <a:gd name="connsiteY64" fmla="*/ 1499616 h 6815328"/>
                <a:gd name="connsiteX65" fmla="*/ 1792224 w 3243072"/>
                <a:gd name="connsiteY65" fmla="*/ 1487424 h 6815328"/>
                <a:gd name="connsiteX66" fmla="*/ 1743456 w 3243072"/>
                <a:gd name="connsiteY66" fmla="*/ 1572768 h 6815328"/>
                <a:gd name="connsiteX67" fmla="*/ 1670304 w 3243072"/>
                <a:gd name="connsiteY67" fmla="*/ 1560576 h 6815328"/>
                <a:gd name="connsiteX68" fmla="*/ 1633728 w 3243072"/>
                <a:gd name="connsiteY68" fmla="*/ 1706880 h 6815328"/>
                <a:gd name="connsiteX69" fmla="*/ 1584960 w 3243072"/>
                <a:gd name="connsiteY69" fmla="*/ 1780032 h 6815328"/>
                <a:gd name="connsiteX70" fmla="*/ 1609344 w 3243072"/>
                <a:gd name="connsiteY70" fmla="*/ 1865376 h 6815328"/>
                <a:gd name="connsiteX71" fmla="*/ 1584960 w 3243072"/>
                <a:gd name="connsiteY71" fmla="*/ 1926336 h 6815328"/>
                <a:gd name="connsiteX72" fmla="*/ 1572768 w 3243072"/>
                <a:gd name="connsiteY72" fmla="*/ 1987296 h 6815328"/>
                <a:gd name="connsiteX73" fmla="*/ 1524000 w 3243072"/>
                <a:gd name="connsiteY73" fmla="*/ 1999488 h 6815328"/>
                <a:gd name="connsiteX74" fmla="*/ 1560576 w 3243072"/>
                <a:gd name="connsiteY74" fmla="*/ 2097024 h 6815328"/>
                <a:gd name="connsiteX75" fmla="*/ 1645920 w 3243072"/>
                <a:gd name="connsiteY75" fmla="*/ 2231136 h 6815328"/>
                <a:gd name="connsiteX76" fmla="*/ 1645920 w 3243072"/>
                <a:gd name="connsiteY76" fmla="*/ 2231136 h 6815328"/>
                <a:gd name="connsiteX77" fmla="*/ 1767840 w 3243072"/>
                <a:gd name="connsiteY77" fmla="*/ 2328672 h 6815328"/>
                <a:gd name="connsiteX78" fmla="*/ 1816608 w 3243072"/>
                <a:gd name="connsiteY78" fmla="*/ 2414016 h 6815328"/>
                <a:gd name="connsiteX79" fmla="*/ 1865376 w 3243072"/>
                <a:gd name="connsiteY79" fmla="*/ 2377440 h 6815328"/>
                <a:gd name="connsiteX80" fmla="*/ 1926336 w 3243072"/>
                <a:gd name="connsiteY80" fmla="*/ 2462784 h 6815328"/>
                <a:gd name="connsiteX81" fmla="*/ 1901952 w 3243072"/>
                <a:gd name="connsiteY81" fmla="*/ 2535936 h 6815328"/>
                <a:gd name="connsiteX82" fmla="*/ 2036064 w 3243072"/>
                <a:gd name="connsiteY82" fmla="*/ 2779776 h 6815328"/>
                <a:gd name="connsiteX83" fmla="*/ 2157984 w 3243072"/>
                <a:gd name="connsiteY83" fmla="*/ 2877312 h 6815328"/>
                <a:gd name="connsiteX84" fmla="*/ 2279904 w 3243072"/>
                <a:gd name="connsiteY84" fmla="*/ 3023616 h 6815328"/>
                <a:gd name="connsiteX85" fmla="*/ 2328672 w 3243072"/>
                <a:gd name="connsiteY85" fmla="*/ 3096768 h 6815328"/>
                <a:gd name="connsiteX86" fmla="*/ 2487168 w 3243072"/>
                <a:gd name="connsiteY86" fmla="*/ 3169920 h 6815328"/>
                <a:gd name="connsiteX87" fmla="*/ 2511552 w 3243072"/>
                <a:gd name="connsiteY87" fmla="*/ 3267456 h 6815328"/>
                <a:gd name="connsiteX88" fmla="*/ 2511552 w 3243072"/>
                <a:gd name="connsiteY88" fmla="*/ 3267456 h 6815328"/>
                <a:gd name="connsiteX89" fmla="*/ 2596896 w 3243072"/>
                <a:gd name="connsiteY89" fmla="*/ 3206496 h 6815328"/>
                <a:gd name="connsiteX90" fmla="*/ 2609088 w 3243072"/>
                <a:gd name="connsiteY90" fmla="*/ 3279648 h 6815328"/>
                <a:gd name="connsiteX91" fmla="*/ 2657856 w 3243072"/>
                <a:gd name="connsiteY91" fmla="*/ 3279648 h 6815328"/>
                <a:gd name="connsiteX92" fmla="*/ 2645664 w 3243072"/>
                <a:gd name="connsiteY92" fmla="*/ 3328416 h 6815328"/>
                <a:gd name="connsiteX93" fmla="*/ 2779776 w 3243072"/>
                <a:gd name="connsiteY93" fmla="*/ 3425952 h 6815328"/>
                <a:gd name="connsiteX94" fmla="*/ 2816352 w 3243072"/>
                <a:gd name="connsiteY94" fmla="*/ 3547872 h 6815328"/>
                <a:gd name="connsiteX95" fmla="*/ 2877312 w 3243072"/>
                <a:gd name="connsiteY95" fmla="*/ 3621024 h 6815328"/>
                <a:gd name="connsiteX96" fmla="*/ 2926080 w 3243072"/>
                <a:gd name="connsiteY96" fmla="*/ 3645408 h 6815328"/>
                <a:gd name="connsiteX97" fmla="*/ 2926080 w 3243072"/>
                <a:gd name="connsiteY97" fmla="*/ 3645408 h 6815328"/>
                <a:gd name="connsiteX98" fmla="*/ 2987040 w 3243072"/>
                <a:gd name="connsiteY98" fmla="*/ 3767328 h 6815328"/>
                <a:gd name="connsiteX99" fmla="*/ 3011424 w 3243072"/>
                <a:gd name="connsiteY99" fmla="*/ 3864864 h 6815328"/>
                <a:gd name="connsiteX100" fmla="*/ 3060192 w 3243072"/>
                <a:gd name="connsiteY100" fmla="*/ 4011168 h 6815328"/>
                <a:gd name="connsiteX101" fmla="*/ 3096768 w 3243072"/>
                <a:gd name="connsiteY101" fmla="*/ 4157472 h 6815328"/>
                <a:gd name="connsiteX102" fmla="*/ 3133344 w 3243072"/>
                <a:gd name="connsiteY102" fmla="*/ 4291584 h 6815328"/>
                <a:gd name="connsiteX103" fmla="*/ 3169920 w 3243072"/>
                <a:gd name="connsiteY103" fmla="*/ 4389120 h 6815328"/>
                <a:gd name="connsiteX104" fmla="*/ 3133344 w 3243072"/>
                <a:gd name="connsiteY104" fmla="*/ 4437888 h 6815328"/>
                <a:gd name="connsiteX105" fmla="*/ 3133344 w 3243072"/>
                <a:gd name="connsiteY105" fmla="*/ 4498848 h 6815328"/>
                <a:gd name="connsiteX106" fmla="*/ 3133344 w 3243072"/>
                <a:gd name="connsiteY106" fmla="*/ 4498848 h 6815328"/>
                <a:gd name="connsiteX107" fmla="*/ 3133344 w 3243072"/>
                <a:gd name="connsiteY107" fmla="*/ 4498848 h 6815328"/>
                <a:gd name="connsiteX108" fmla="*/ 3169920 w 3243072"/>
                <a:gd name="connsiteY108" fmla="*/ 4608576 h 6815328"/>
                <a:gd name="connsiteX109" fmla="*/ 3194304 w 3243072"/>
                <a:gd name="connsiteY109" fmla="*/ 4706112 h 6815328"/>
                <a:gd name="connsiteX110" fmla="*/ 3243072 w 3243072"/>
                <a:gd name="connsiteY110" fmla="*/ 4779264 h 6815328"/>
                <a:gd name="connsiteX111" fmla="*/ 3194304 w 3243072"/>
                <a:gd name="connsiteY111" fmla="*/ 4852416 h 6815328"/>
                <a:gd name="connsiteX112" fmla="*/ 3194304 w 3243072"/>
                <a:gd name="connsiteY112" fmla="*/ 4852416 h 6815328"/>
                <a:gd name="connsiteX113" fmla="*/ 3169920 w 3243072"/>
                <a:gd name="connsiteY113" fmla="*/ 4986528 h 6815328"/>
                <a:gd name="connsiteX114" fmla="*/ 3169920 w 3243072"/>
                <a:gd name="connsiteY114" fmla="*/ 5047488 h 6815328"/>
                <a:gd name="connsiteX115" fmla="*/ 3145536 w 3243072"/>
                <a:gd name="connsiteY115" fmla="*/ 5047488 h 6815328"/>
                <a:gd name="connsiteX116" fmla="*/ 3182112 w 3243072"/>
                <a:gd name="connsiteY116" fmla="*/ 5132832 h 6815328"/>
                <a:gd name="connsiteX117" fmla="*/ 3133344 w 3243072"/>
                <a:gd name="connsiteY117" fmla="*/ 5157216 h 6815328"/>
                <a:gd name="connsiteX118" fmla="*/ 3133344 w 3243072"/>
                <a:gd name="connsiteY118" fmla="*/ 5157216 h 6815328"/>
                <a:gd name="connsiteX119" fmla="*/ 3133344 w 3243072"/>
                <a:gd name="connsiteY119" fmla="*/ 5327904 h 6815328"/>
                <a:gd name="connsiteX120" fmla="*/ 3096768 w 3243072"/>
                <a:gd name="connsiteY120" fmla="*/ 5437632 h 6815328"/>
                <a:gd name="connsiteX121" fmla="*/ 3048000 w 3243072"/>
                <a:gd name="connsiteY121" fmla="*/ 5437632 h 6815328"/>
                <a:gd name="connsiteX122" fmla="*/ 3048000 w 3243072"/>
                <a:gd name="connsiteY122" fmla="*/ 5437632 h 6815328"/>
                <a:gd name="connsiteX123" fmla="*/ 2926080 w 3243072"/>
                <a:gd name="connsiteY123" fmla="*/ 5535168 h 6815328"/>
                <a:gd name="connsiteX124" fmla="*/ 2889504 w 3243072"/>
                <a:gd name="connsiteY124" fmla="*/ 5608320 h 6815328"/>
                <a:gd name="connsiteX125" fmla="*/ 2816352 w 3243072"/>
                <a:gd name="connsiteY125" fmla="*/ 5620512 h 6815328"/>
                <a:gd name="connsiteX126" fmla="*/ 2791968 w 3243072"/>
                <a:gd name="connsiteY126" fmla="*/ 5657088 h 6815328"/>
                <a:gd name="connsiteX127" fmla="*/ 2694432 w 3243072"/>
                <a:gd name="connsiteY127" fmla="*/ 5669280 h 6815328"/>
                <a:gd name="connsiteX128" fmla="*/ 2682240 w 3243072"/>
                <a:gd name="connsiteY128" fmla="*/ 5718048 h 6815328"/>
                <a:gd name="connsiteX129" fmla="*/ 2633472 w 3243072"/>
                <a:gd name="connsiteY129" fmla="*/ 5766816 h 6815328"/>
                <a:gd name="connsiteX130" fmla="*/ 2633472 w 3243072"/>
                <a:gd name="connsiteY130" fmla="*/ 5766816 h 6815328"/>
                <a:gd name="connsiteX131" fmla="*/ 2438400 w 3243072"/>
                <a:gd name="connsiteY131" fmla="*/ 5815584 h 6815328"/>
                <a:gd name="connsiteX132" fmla="*/ 2316480 w 3243072"/>
                <a:gd name="connsiteY132" fmla="*/ 5925312 h 6815328"/>
                <a:gd name="connsiteX133" fmla="*/ 2231136 w 3243072"/>
                <a:gd name="connsiteY133" fmla="*/ 5998464 h 6815328"/>
                <a:gd name="connsiteX134" fmla="*/ 2072640 w 3243072"/>
                <a:gd name="connsiteY134" fmla="*/ 5974080 h 6815328"/>
                <a:gd name="connsiteX135" fmla="*/ 2023872 w 3243072"/>
                <a:gd name="connsiteY135" fmla="*/ 6035040 h 6815328"/>
                <a:gd name="connsiteX136" fmla="*/ 2048256 w 3243072"/>
                <a:gd name="connsiteY136" fmla="*/ 6083808 h 6815328"/>
                <a:gd name="connsiteX137" fmla="*/ 1999488 w 3243072"/>
                <a:gd name="connsiteY137" fmla="*/ 6132576 h 6815328"/>
                <a:gd name="connsiteX138" fmla="*/ 1987296 w 3243072"/>
                <a:gd name="connsiteY138" fmla="*/ 6230112 h 6815328"/>
                <a:gd name="connsiteX139" fmla="*/ 1950720 w 3243072"/>
                <a:gd name="connsiteY139" fmla="*/ 6266688 h 6815328"/>
                <a:gd name="connsiteX140" fmla="*/ 1938528 w 3243072"/>
                <a:gd name="connsiteY140" fmla="*/ 6339840 h 6815328"/>
                <a:gd name="connsiteX141" fmla="*/ 1865376 w 3243072"/>
                <a:gd name="connsiteY141" fmla="*/ 6364224 h 6815328"/>
                <a:gd name="connsiteX142" fmla="*/ 1792224 w 3243072"/>
                <a:gd name="connsiteY142" fmla="*/ 6364224 h 6815328"/>
                <a:gd name="connsiteX143" fmla="*/ 1792224 w 3243072"/>
                <a:gd name="connsiteY143" fmla="*/ 6364224 h 6815328"/>
                <a:gd name="connsiteX144" fmla="*/ 1767840 w 3243072"/>
                <a:gd name="connsiteY144" fmla="*/ 6449568 h 6815328"/>
                <a:gd name="connsiteX145" fmla="*/ 1463040 w 3243072"/>
                <a:gd name="connsiteY145" fmla="*/ 6522720 h 6815328"/>
                <a:gd name="connsiteX146" fmla="*/ 1353312 w 3243072"/>
                <a:gd name="connsiteY146" fmla="*/ 6693408 h 6815328"/>
                <a:gd name="connsiteX147" fmla="*/ 1280160 w 3243072"/>
                <a:gd name="connsiteY147" fmla="*/ 6754368 h 6815328"/>
                <a:gd name="connsiteX148" fmla="*/ 1182624 w 3243072"/>
                <a:gd name="connsiteY148" fmla="*/ 6815328 h 6815328"/>
                <a:gd name="connsiteX149" fmla="*/ 1097280 w 3243072"/>
                <a:gd name="connsiteY149" fmla="*/ 6754368 h 6815328"/>
                <a:gd name="connsiteX150" fmla="*/ 1146048 w 3243072"/>
                <a:gd name="connsiteY150" fmla="*/ 6729984 h 6815328"/>
                <a:gd name="connsiteX151" fmla="*/ 1146048 w 3243072"/>
                <a:gd name="connsiteY151" fmla="*/ 6729984 h 6815328"/>
                <a:gd name="connsiteX152" fmla="*/ 1133856 w 3243072"/>
                <a:gd name="connsiteY152" fmla="*/ 6266688 h 6815328"/>
                <a:gd name="connsiteX153" fmla="*/ 1133856 w 3243072"/>
                <a:gd name="connsiteY153" fmla="*/ 6266688 h 6815328"/>
                <a:gd name="connsiteX154" fmla="*/ 1243584 w 3243072"/>
                <a:gd name="connsiteY154" fmla="*/ 6169152 h 6815328"/>
                <a:gd name="connsiteX155" fmla="*/ 1182624 w 3243072"/>
                <a:gd name="connsiteY155" fmla="*/ 6083808 h 6815328"/>
                <a:gd name="connsiteX156" fmla="*/ 1121664 w 3243072"/>
                <a:gd name="connsiteY156" fmla="*/ 6059424 h 6815328"/>
                <a:gd name="connsiteX157" fmla="*/ 999744 w 3243072"/>
                <a:gd name="connsiteY157" fmla="*/ 6059424 h 6815328"/>
                <a:gd name="connsiteX158" fmla="*/ 938784 w 3243072"/>
                <a:gd name="connsiteY158" fmla="*/ 5949696 h 6815328"/>
                <a:gd name="connsiteX159" fmla="*/ 1072896 w 3243072"/>
                <a:gd name="connsiteY159" fmla="*/ 5864352 h 6815328"/>
                <a:gd name="connsiteX160" fmla="*/ 1182624 w 3243072"/>
                <a:gd name="connsiteY160" fmla="*/ 5864352 h 6815328"/>
                <a:gd name="connsiteX161" fmla="*/ 1255776 w 3243072"/>
                <a:gd name="connsiteY161" fmla="*/ 5839968 h 6815328"/>
                <a:gd name="connsiteX162" fmla="*/ 1194816 w 3243072"/>
                <a:gd name="connsiteY162" fmla="*/ 5693664 h 6815328"/>
                <a:gd name="connsiteX163" fmla="*/ 1365504 w 3243072"/>
                <a:gd name="connsiteY163" fmla="*/ 5730240 h 6815328"/>
                <a:gd name="connsiteX164" fmla="*/ 1536192 w 3243072"/>
                <a:gd name="connsiteY164" fmla="*/ 5620512 h 6815328"/>
                <a:gd name="connsiteX165" fmla="*/ 1633728 w 3243072"/>
                <a:gd name="connsiteY165" fmla="*/ 5657088 h 6815328"/>
                <a:gd name="connsiteX166" fmla="*/ 1633728 w 3243072"/>
                <a:gd name="connsiteY166" fmla="*/ 5657088 h 6815328"/>
                <a:gd name="connsiteX167" fmla="*/ 1719072 w 3243072"/>
                <a:gd name="connsiteY167" fmla="*/ 5730240 h 6815328"/>
                <a:gd name="connsiteX168" fmla="*/ 1719072 w 3243072"/>
                <a:gd name="connsiteY168" fmla="*/ 5730240 h 6815328"/>
                <a:gd name="connsiteX169" fmla="*/ 1694688 w 3243072"/>
                <a:gd name="connsiteY169" fmla="*/ 5583936 h 6815328"/>
                <a:gd name="connsiteX170" fmla="*/ 1584960 w 3243072"/>
                <a:gd name="connsiteY170" fmla="*/ 5559552 h 6815328"/>
                <a:gd name="connsiteX171" fmla="*/ 1597152 w 3243072"/>
                <a:gd name="connsiteY171" fmla="*/ 5388864 h 6815328"/>
                <a:gd name="connsiteX172" fmla="*/ 1694688 w 3243072"/>
                <a:gd name="connsiteY172" fmla="*/ 5327904 h 6815328"/>
                <a:gd name="connsiteX173" fmla="*/ 1694688 w 3243072"/>
                <a:gd name="connsiteY173" fmla="*/ 5327904 h 6815328"/>
                <a:gd name="connsiteX174" fmla="*/ 1914144 w 3243072"/>
                <a:gd name="connsiteY174" fmla="*/ 5340096 h 6815328"/>
                <a:gd name="connsiteX175" fmla="*/ 1840992 w 3243072"/>
                <a:gd name="connsiteY175" fmla="*/ 5193792 h 6815328"/>
                <a:gd name="connsiteX176" fmla="*/ 2036064 w 3243072"/>
                <a:gd name="connsiteY176" fmla="*/ 5181600 h 6815328"/>
                <a:gd name="connsiteX177" fmla="*/ 2084832 w 3243072"/>
                <a:gd name="connsiteY177" fmla="*/ 5157216 h 6815328"/>
                <a:gd name="connsiteX178" fmla="*/ 2279904 w 3243072"/>
                <a:gd name="connsiteY178" fmla="*/ 5047488 h 6815328"/>
                <a:gd name="connsiteX179" fmla="*/ 2353056 w 3243072"/>
                <a:gd name="connsiteY179" fmla="*/ 5047488 h 6815328"/>
                <a:gd name="connsiteX180" fmla="*/ 2365248 w 3243072"/>
                <a:gd name="connsiteY180" fmla="*/ 4888992 h 6815328"/>
                <a:gd name="connsiteX181" fmla="*/ 2340864 w 3243072"/>
                <a:gd name="connsiteY181" fmla="*/ 4754880 h 6815328"/>
                <a:gd name="connsiteX182" fmla="*/ 2353056 w 3243072"/>
                <a:gd name="connsiteY182" fmla="*/ 4645152 h 6815328"/>
                <a:gd name="connsiteX183" fmla="*/ 2401824 w 3243072"/>
                <a:gd name="connsiteY183" fmla="*/ 4523232 h 6815328"/>
                <a:gd name="connsiteX184" fmla="*/ 2328672 w 3243072"/>
                <a:gd name="connsiteY184" fmla="*/ 4376928 h 6815328"/>
                <a:gd name="connsiteX185" fmla="*/ 2279904 w 3243072"/>
                <a:gd name="connsiteY185" fmla="*/ 4218432 h 6815328"/>
                <a:gd name="connsiteX186" fmla="*/ 2304288 w 3243072"/>
                <a:gd name="connsiteY186" fmla="*/ 4072128 h 6815328"/>
                <a:gd name="connsiteX187" fmla="*/ 2304288 w 3243072"/>
                <a:gd name="connsiteY187" fmla="*/ 4072128 h 6815328"/>
                <a:gd name="connsiteX188" fmla="*/ 2353056 w 3243072"/>
                <a:gd name="connsiteY188" fmla="*/ 3913632 h 6815328"/>
                <a:gd name="connsiteX189" fmla="*/ 2340864 w 3243072"/>
                <a:gd name="connsiteY189" fmla="*/ 3803904 h 6815328"/>
                <a:gd name="connsiteX190" fmla="*/ 2414016 w 3243072"/>
                <a:gd name="connsiteY190" fmla="*/ 3730752 h 6815328"/>
                <a:gd name="connsiteX191" fmla="*/ 2377440 w 3243072"/>
                <a:gd name="connsiteY191" fmla="*/ 3694176 h 6815328"/>
                <a:gd name="connsiteX192" fmla="*/ 2353056 w 3243072"/>
                <a:gd name="connsiteY192" fmla="*/ 3621024 h 6815328"/>
                <a:gd name="connsiteX193" fmla="*/ 2292096 w 3243072"/>
                <a:gd name="connsiteY193" fmla="*/ 3621024 h 6815328"/>
                <a:gd name="connsiteX194" fmla="*/ 2218944 w 3243072"/>
                <a:gd name="connsiteY194" fmla="*/ 3560064 h 6815328"/>
                <a:gd name="connsiteX195" fmla="*/ 2157984 w 3243072"/>
                <a:gd name="connsiteY195" fmla="*/ 3499104 h 6815328"/>
                <a:gd name="connsiteX196" fmla="*/ 2157984 w 3243072"/>
                <a:gd name="connsiteY196" fmla="*/ 3499104 h 6815328"/>
                <a:gd name="connsiteX197" fmla="*/ 2292096 w 3243072"/>
                <a:gd name="connsiteY197" fmla="*/ 3364992 h 6815328"/>
                <a:gd name="connsiteX198" fmla="*/ 2182368 w 3243072"/>
                <a:gd name="connsiteY198" fmla="*/ 3304032 h 6815328"/>
                <a:gd name="connsiteX199" fmla="*/ 2182368 w 3243072"/>
                <a:gd name="connsiteY199" fmla="*/ 3304032 h 6815328"/>
                <a:gd name="connsiteX200" fmla="*/ 2121408 w 3243072"/>
                <a:gd name="connsiteY200" fmla="*/ 3279648 h 6815328"/>
                <a:gd name="connsiteX201" fmla="*/ 2036064 w 3243072"/>
                <a:gd name="connsiteY201" fmla="*/ 3145536 h 6815328"/>
                <a:gd name="connsiteX202" fmla="*/ 1987296 w 3243072"/>
                <a:gd name="connsiteY202" fmla="*/ 3218688 h 6815328"/>
                <a:gd name="connsiteX203" fmla="*/ 1950720 w 3243072"/>
                <a:gd name="connsiteY203" fmla="*/ 3096768 h 6815328"/>
                <a:gd name="connsiteX204" fmla="*/ 1877568 w 3243072"/>
                <a:gd name="connsiteY204" fmla="*/ 3023616 h 6815328"/>
                <a:gd name="connsiteX205" fmla="*/ 1901952 w 3243072"/>
                <a:gd name="connsiteY205" fmla="*/ 2913888 h 6815328"/>
                <a:gd name="connsiteX206" fmla="*/ 1816608 w 3243072"/>
                <a:gd name="connsiteY206" fmla="*/ 2852928 h 6815328"/>
                <a:gd name="connsiteX207" fmla="*/ 1804416 w 3243072"/>
                <a:gd name="connsiteY207" fmla="*/ 2779776 h 6815328"/>
                <a:gd name="connsiteX208" fmla="*/ 1560576 w 3243072"/>
                <a:gd name="connsiteY208" fmla="*/ 2621280 h 6815328"/>
                <a:gd name="connsiteX209" fmla="*/ 1463040 w 3243072"/>
                <a:gd name="connsiteY209" fmla="*/ 2499360 h 6815328"/>
                <a:gd name="connsiteX210" fmla="*/ 1511808 w 3243072"/>
                <a:gd name="connsiteY210" fmla="*/ 2474976 h 6815328"/>
                <a:gd name="connsiteX211" fmla="*/ 1438656 w 3243072"/>
                <a:gd name="connsiteY211" fmla="*/ 2365248 h 6815328"/>
                <a:gd name="connsiteX212" fmla="*/ 1438656 w 3243072"/>
                <a:gd name="connsiteY212" fmla="*/ 2365248 h 6815328"/>
                <a:gd name="connsiteX213" fmla="*/ 1267968 w 3243072"/>
                <a:gd name="connsiteY213" fmla="*/ 2231136 h 6815328"/>
                <a:gd name="connsiteX214" fmla="*/ 1316736 w 3243072"/>
                <a:gd name="connsiteY214" fmla="*/ 2157984 h 6815328"/>
                <a:gd name="connsiteX215" fmla="*/ 1231392 w 3243072"/>
                <a:gd name="connsiteY215" fmla="*/ 2133600 h 6815328"/>
                <a:gd name="connsiteX216" fmla="*/ 1158240 w 3243072"/>
                <a:gd name="connsiteY216" fmla="*/ 2109216 h 6815328"/>
                <a:gd name="connsiteX217" fmla="*/ 1072896 w 3243072"/>
                <a:gd name="connsiteY217" fmla="*/ 2084832 h 6815328"/>
                <a:gd name="connsiteX218" fmla="*/ 1011936 w 3243072"/>
                <a:gd name="connsiteY218" fmla="*/ 2072640 h 6815328"/>
                <a:gd name="connsiteX219" fmla="*/ 1024128 w 3243072"/>
                <a:gd name="connsiteY219" fmla="*/ 1987296 h 6815328"/>
                <a:gd name="connsiteX220" fmla="*/ 975360 w 3243072"/>
                <a:gd name="connsiteY220" fmla="*/ 1999488 h 6815328"/>
                <a:gd name="connsiteX221" fmla="*/ 902208 w 3243072"/>
                <a:gd name="connsiteY221" fmla="*/ 1962912 h 6815328"/>
                <a:gd name="connsiteX222" fmla="*/ 902208 w 3243072"/>
                <a:gd name="connsiteY222" fmla="*/ 1962912 h 6815328"/>
                <a:gd name="connsiteX223" fmla="*/ 841248 w 3243072"/>
                <a:gd name="connsiteY223" fmla="*/ 1926336 h 6815328"/>
                <a:gd name="connsiteX224" fmla="*/ 743712 w 3243072"/>
                <a:gd name="connsiteY224" fmla="*/ 1889760 h 6815328"/>
                <a:gd name="connsiteX225" fmla="*/ 743712 w 3243072"/>
                <a:gd name="connsiteY225" fmla="*/ 1804416 h 6815328"/>
                <a:gd name="connsiteX226" fmla="*/ 829056 w 3243072"/>
                <a:gd name="connsiteY226" fmla="*/ 1767840 h 6815328"/>
                <a:gd name="connsiteX227" fmla="*/ 792480 w 3243072"/>
                <a:gd name="connsiteY227" fmla="*/ 1682496 h 6815328"/>
                <a:gd name="connsiteX228" fmla="*/ 792480 w 3243072"/>
                <a:gd name="connsiteY228" fmla="*/ 1682496 h 6815328"/>
                <a:gd name="connsiteX229" fmla="*/ 914400 w 3243072"/>
                <a:gd name="connsiteY229" fmla="*/ 1670304 h 6815328"/>
                <a:gd name="connsiteX230" fmla="*/ 1011936 w 3243072"/>
                <a:gd name="connsiteY230" fmla="*/ 1682496 h 6815328"/>
                <a:gd name="connsiteX231" fmla="*/ 1024128 w 3243072"/>
                <a:gd name="connsiteY231" fmla="*/ 1645920 h 6815328"/>
                <a:gd name="connsiteX232" fmla="*/ 1060704 w 3243072"/>
                <a:gd name="connsiteY232" fmla="*/ 1719072 h 6815328"/>
                <a:gd name="connsiteX233" fmla="*/ 1194816 w 3243072"/>
                <a:gd name="connsiteY233" fmla="*/ 1609344 h 6815328"/>
                <a:gd name="connsiteX234" fmla="*/ 1158240 w 3243072"/>
                <a:gd name="connsiteY234" fmla="*/ 1597152 h 6815328"/>
                <a:gd name="connsiteX235" fmla="*/ 1182624 w 3243072"/>
                <a:gd name="connsiteY235" fmla="*/ 1511808 h 6815328"/>
                <a:gd name="connsiteX236" fmla="*/ 1182624 w 3243072"/>
                <a:gd name="connsiteY236" fmla="*/ 1511808 h 6815328"/>
                <a:gd name="connsiteX237" fmla="*/ 1072896 w 3243072"/>
                <a:gd name="connsiteY237" fmla="*/ 1450848 h 6815328"/>
                <a:gd name="connsiteX238" fmla="*/ 1072896 w 3243072"/>
                <a:gd name="connsiteY238" fmla="*/ 1353312 h 6815328"/>
                <a:gd name="connsiteX239" fmla="*/ 963168 w 3243072"/>
                <a:gd name="connsiteY239" fmla="*/ 1353312 h 6815328"/>
                <a:gd name="connsiteX240" fmla="*/ 963168 w 3243072"/>
                <a:gd name="connsiteY240" fmla="*/ 1353312 h 6815328"/>
                <a:gd name="connsiteX241" fmla="*/ 1048512 w 3243072"/>
                <a:gd name="connsiteY241" fmla="*/ 1243584 h 6815328"/>
                <a:gd name="connsiteX242" fmla="*/ 1024128 w 3243072"/>
                <a:gd name="connsiteY242" fmla="*/ 1182624 h 6815328"/>
                <a:gd name="connsiteX243" fmla="*/ 975360 w 3243072"/>
                <a:gd name="connsiteY243" fmla="*/ 1182624 h 6815328"/>
                <a:gd name="connsiteX244" fmla="*/ 890016 w 3243072"/>
                <a:gd name="connsiteY244" fmla="*/ 1121664 h 6815328"/>
                <a:gd name="connsiteX245" fmla="*/ 816864 w 3243072"/>
                <a:gd name="connsiteY245" fmla="*/ 1121664 h 6815328"/>
                <a:gd name="connsiteX246" fmla="*/ 719328 w 3243072"/>
                <a:gd name="connsiteY246" fmla="*/ 1158240 h 6815328"/>
                <a:gd name="connsiteX247" fmla="*/ 694944 w 3243072"/>
                <a:gd name="connsiteY247" fmla="*/ 1255776 h 6815328"/>
                <a:gd name="connsiteX248" fmla="*/ 609600 w 3243072"/>
                <a:gd name="connsiteY248" fmla="*/ 1182624 h 6815328"/>
                <a:gd name="connsiteX249" fmla="*/ 560832 w 3243072"/>
                <a:gd name="connsiteY249" fmla="*/ 1207008 h 6815328"/>
                <a:gd name="connsiteX250" fmla="*/ 463296 w 3243072"/>
                <a:gd name="connsiteY250" fmla="*/ 1158240 h 6815328"/>
                <a:gd name="connsiteX251" fmla="*/ 463296 w 3243072"/>
                <a:gd name="connsiteY251" fmla="*/ 1158240 h 6815328"/>
                <a:gd name="connsiteX252" fmla="*/ 390144 w 3243072"/>
                <a:gd name="connsiteY252" fmla="*/ 1085088 h 6815328"/>
                <a:gd name="connsiteX253" fmla="*/ 390144 w 3243072"/>
                <a:gd name="connsiteY253" fmla="*/ 1085088 h 6815328"/>
                <a:gd name="connsiteX254" fmla="*/ 304800 w 3243072"/>
                <a:gd name="connsiteY254" fmla="*/ 975360 h 6815328"/>
                <a:gd name="connsiteX255" fmla="*/ 341376 w 3243072"/>
                <a:gd name="connsiteY255" fmla="*/ 914400 h 6815328"/>
                <a:gd name="connsiteX256" fmla="*/ 329184 w 3243072"/>
                <a:gd name="connsiteY256" fmla="*/ 865632 h 6815328"/>
                <a:gd name="connsiteX257" fmla="*/ 365760 w 3243072"/>
                <a:gd name="connsiteY257" fmla="*/ 816864 h 6815328"/>
                <a:gd name="connsiteX258" fmla="*/ 365760 w 3243072"/>
                <a:gd name="connsiteY258" fmla="*/ 731520 h 6815328"/>
                <a:gd name="connsiteX259" fmla="*/ 280416 w 3243072"/>
                <a:gd name="connsiteY259" fmla="*/ 804672 h 6815328"/>
                <a:gd name="connsiteX260" fmla="*/ 207264 w 3243072"/>
                <a:gd name="connsiteY260" fmla="*/ 682752 h 6815328"/>
                <a:gd name="connsiteX261" fmla="*/ 158496 w 3243072"/>
                <a:gd name="connsiteY261" fmla="*/ 597408 h 6815328"/>
                <a:gd name="connsiteX262" fmla="*/ 109728 w 3243072"/>
                <a:gd name="connsiteY262" fmla="*/ 524256 h 6815328"/>
                <a:gd name="connsiteX263" fmla="*/ 48768 w 3243072"/>
                <a:gd name="connsiteY263" fmla="*/ 524256 h 6815328"/>
                <a:gd name="connsiteX264" fmla="*/ 0 w 3243072"/>
                <a:gd name="connsiteY264"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14400 w 3243072"/>
                <a:gd name="connsiteY17" fmla="*/ 207264 h 6815328"/>
                <a:gd name="connsiteX18" fmla="*/ 950976 w 3243072"/>
                <a:gd name="connsiteY18" fmla="*/ 304800 h 6815328"/>
                <a:gd name="connsiteX19" fmla="*/ 1097280 w 3243072"/>
                <a:gd name="connsiteY19" fmla="*/ 219456 h 6815328"/>
                <a:gd name="connsiteX20" fmla="*/ 1146048 w 3243072"/>
                <a:gd name="connsiteY20" fmla="*/ 243840 h 6815328"/>
                <a:gd name="connsiteX21" fmla="*/ 1146048 w 3243072"/>
                <a:gd name="connsiteY21" fmla="*/ 243840 h 6815328"/>
                <a:gd name="connsiteX22" fmla="*/ 1158240 w 3243072"/>
                <a:gd name="connsiteY22" fmla="*/ 134112 h 6815328"/>
                <a:gd name="connsiteX23" fmla="*/ 1231392 w 3243072"/>
                <a:gd name="connsiteY23" fmla="*/ 60960 h 6815328"/>
                <a:gd name="connsiteX24" fmla="*/ 1341120 w 3243072"/>
                <a:gd name="connsiteY24" fmla="*/ 36576 h 6815328"/>
                <a:gd name="connsiteX25" fmla="*/ 1377696 w 3243072"/>
                <a:gd name="connsiteY25" fmla="*/ 0 h 6815328"/>
                <a:gd name="connsiteX26" fmla="*/ 1511808 w 3243072"/>
                <a:gd name="connsiteY26" fmla="*/ 121920 h 6815328"/>
                <a:gd name="connsiteX27" fmla="*/ 1511808 w 3243072"/>
                <a:gd name="connsiteY27" fmla="*/ 121920 h 6815328"/>
                <a:gd name="connsiteX28" fmla="*/ 1633728 w 3243072"/>
                <a:gd name="connsiteY28" fmla="*/ 195072 h 6815328"/>
                <a:gd name="connsiteX29" fmla="*/ 1682496 w 3243072"/>
                <a:gd name="connsiteY29" fmla="*/ 158496 h 6815328"/>
                <a:gd name="connsiteX30" fmla="*/ 1755648 w 3243072"/>
                <a:gd name="connsiteY30" fmla="*/ 158496 h 6815328"/>
                <a:gd name="connsiteX31" fmla="*/ 1816608 w 3243072"/>
                <a:gd name="connsiteY31" fmla="*/ 207264 h 6815328"/>
                <a:gd name="connsiteX32" fmla="*/ 1889760 w 3243072"/>
                <a:gd name="connsiteY32" fmla="*/ 195072 h 6815328"/>
                <a:gd name="connsiteX33" fmla="*/ 1975104 w 3243072"/>
                <a:gd name="connsiteY33" fmla="*/ 256032 h 6815328"/>
                <a:gd name="connsiteX34" fmla="*/ 2036064 w 3243072"/>
                <a:gd name="connsiteY34" fmla="*/ 256032 h 6815328"/>
                <a:gd name="connsiteX35" fmla="*/ 1999488 w 3243072"/>
                <a:gd name="connsiteY35" fmla="*/ 365760 h 6815328"/>
                <a:gd name="connsiteX36" fmla="*/ 1938528 w 3243072"/>
                <a:gd name="connsiteY36" fmla="*/ 377952 h 6815328"/>
                <a:gd name="connsiteX37" fmla="*/ 1962912 w 3243072"/>
                <a:gd name="connsiteY37" fmla="*/ 487680 h 6815328"/>
                <a:gd name="connsiteX38" fmla="*/ 1999488 w 3243072"/>
                <a:gd name="connsiteY38" fmla="*/ 499872 h 6815328"/>
                <a:gd name="connsiteX39" fmla="*/ 1975104 w 3243072"/>
                <a:gd name="connsiteY39" fmla="*/ 609600 h 6815328"/>
                <a:gd name="connsiteX40" fmla="*/ 2023872 w 3243072"/>
                <a:gd name="connsiteY40" fmla="*/ 633984 h 6815328"/>
                <a:gd name="connsiteX41" fmla="*/ 2072640 w 3243072"/>
                <a:gd name="connsiteY41" fmla="*/ 621792 h 6815328"/>
                <a:gd name="connsiteX42" fmla="*/ 2121408 w 3243072"/>
                <a:gd name="connsiteY42" fmla="*/ 633984 h 6815328"/>
                <a:gd name="connsiteX43" fmla="*/ 2145792 w 3243072"/>
                <a:gd name="connsiteY43" fmla="*/ 719328 h 6815328"/>
                <a:gd name="connsiteX44" fmla="*/ 2145792 w 3243072"/>
                <a:gd name="connsiteY44" fmla="*/ 719328 h 6815328"/>
                <a:gd name="connsiteX45" fmla="*/ 2304288 w 3243072"/>
                <a:gd name="connsiteY45" fmla="*/ 743712 h 6815328"/>
                <a:gd name="connsiteX46" fmla="*/ 2328672 w 3243072"/>
                <a:gd name="connsiteY46" fmla="*/ 780288 h 6815328"/>
                <a:gd name="connsiteX47" fmla="*/ 2401824 w 3243072"/>
                <a:gd name="connsiteY47" fmla="*/ 768096 h 6815328"/>
                <a:gd name="connsiteX48" fmla="*/ 2438400 w 3243072"/>
                <a:gd name="connsiteY48" fmla="*/ 768096 h 6815328"/>
                <a:gd name="connsiteX49" fmla="*/ 2535936 w 3243072"/>
                <a:gd name="connsiteY49" fmla="*/ 829056 h 6815328"/>
                <a:gd name="connsiteX50" fmla="*/ 2523744 w 3243072"/>
                <a:gd name="connsiteY50" fmla="*/ 877824 h 6815328"/>
                <a:gd name="connsiteX51" fmla="*/ 2487168 w 3243072"/>
                <a:gd name="connsiteY51" fmla="*/ 877824 h 6815328"/>
                <a:gd name="connsiteX52" fmla="*/ 2426208 w 3243072"/>
                <a:gd name="connsiteY52" fmla="*/ 914400 h 6815328"/>
                <a:gd name="connsiteX53" fmla="*/ 2353056 w 3243072"/>
                <a:gd name="connsiteY53" fmla="*/ 963168 h 6815328"/>
                <a:gd name="connsiteX54" fmla="*/ 2316480 w 3243072"/>
                <a:gd name="connsiteY54" fmla="*/ 1036320 h 6815328"/>
                <a:gd name="connsiteX55" fmla="*/ 2255520 w 3243072"/>
                <a:gd name="connsiteY55" fmla="*/ 1097280 h 6815328"/>
                <a:gd name="connsiteX56" fmla="*/ 2255520 w 3243072"/>
                <a:gd name="connsiteY56" fmla="*/ 1097280 h 6815328"/>
                <a:gd name="connsiteX57" fmla="*/ 2097024 w 3243072"/>
                <a:gd name="connsiteY57" fmla="*/ 1121664 h 6815328"/>
                <a:gd name="connsiteX58" fmla="*/ 2011680 w 3243072"/>
                <a:gd name="connsiteY58" fmla="*/ 1158240 h 6815328"/>
                <a:gd name="connsiteX59" fmla="*/ 1999488 w 3243072"/>
                <a:gd name="connsiteY59" fmla="*/ 1219200 h 6815328"/>
                <a:gd name="connsiteX60" fmla="*/ 1975104 w 3243072"/>
                <a:gd name="connsiteY60" fmla="*/ 1280160 h 6815328"/>
                <a:gd name="connsiteX61" fmla="*/ 1938528 w 3243072"/>
                <a:gd name="connsiteY61" fmla="*/ 1389888 h 6815328"/>
                <a:gd name="connsiteX62" fmla="*/ 1901952 w 3243072"/>
                <a:gd name="connsiteY62" fmla="*/ 1426464 h 6815328"/>
                <a:gd name="connsiteX63" fmla="*/ 1853184 w 3243072"/>
                <a:gd name="connsiteY63" fmla="*/ 1499616 h 6815328"/>
                <a:gd name="connsiteX64" fmla="*/ 1853184 w 3243072"/>
                <a:gd name="connsiteY64" fmla="*/ 1499616 h 6815328"/>
                <a:gd name="connsiteX65" fmla="*/ 1792224 w 3243072"/>
                <a:gd name="connsiteY65" fmla="*/ 1487424 h 6815328"/>
                <a:gd name="connsiteX66" fmla="*/ 1743456 w 3243072"/>
                <a:gd name="connsiteY66" fmla="*/ 1572768 h 6815328"/>
                <a:gd name="connsiteX67" fmla="*/ 1670304 w 3243072"/>
                <a:gd name="connsiteY67" fmla="*/ 1560576 h 6815328"/>
                <a:gd name="connsiteX68" fmla="*/ 1633728 w 3243072"/>
                <a:gd name="connsiteY68" fmla="*/ 1706880 h 6815328"/>
                <a:gd name="connsiteX69" fmla="*/ 1584960 w 3243072"/>
                <a:gd name="connsiteY69" fmla="*/ 1780032 h 6815328"/>
                <a:gd name="connsiteX70" fmla="*/ 1609344 w 3243072"/>
                <a:gd name="connsiteY70" fmla="*/ 1865376 h 6815328"/>
                <a:gd name="connsiteX71" fmla="*/ 1584960 w 3243072"/>
                <a:gd name="connsiteY71" fmla="*/ 1926336 h 6815328"/>
                <a:gd name="connsiteX72" fmla="*/ 1572768 w 3243072"/>
                <a:gd name="connsiteY72" fmla="*/ 1987296 h 6815328"/>
                <a:gd name="connsiteX73" fmla="*/ 1524000 w 3243072"/>
                <a:gd name="connsiteY73" fmla="*/ 1999488 h 6815328"/>
                <a:gd name="connsiteX74" fmla="*/ 1560576 w 3243072"/>
                <a:gd name="connsiteY74" fmla="*/ 2097024 h 6815328"/>
                <a:gd name="connsiteX75" fmla="*/ 1645920 w 3243072"/>
                <a:gd name="connsiteY75" fmla="*/ 2231136 h 6815328"/>
                <a:gd name="connsiteX76" fmla="*/ 1645920 w 3243072"/>
                <a:gd name="connsiteY76" fmla="*/ 2231136 h 6815328"/>
                <a:gd name="connsiteX77" fmla="*/ 1767840 w 3243072"/>
                <a:gd name="connsiteY77" fmla="*/ 2328672 h 6815328"/>
                <a:gd name="connsiteX78" fmla="*/ 1816608 w 3243072"/>
                <a:gd name="connsiteY78" fmla="*/ 2414016 h 6815328"/>
                <a:gd name="connsiteX79" fmla="*/ 1865376 w 3243072"/>
                <a:gd name="connsiteY79" fmla="*/ 2377440 h 6815328"/>
                <a:gd name="connsiteX80" fmla="*/ 1926336 w 3243072"/>
                <a:gd name="connsiteY80" fmla="*/ 2462784 h 6815328"/>
                <a:gd name="connsiteX81" fmla="*/ 1901952 w 3243072"/>
                <a:gd name="connsiteY81" fmla="*/ 2535936 h 6815328"/>
                <a:gd name="connsiteX82" fmla="*/ 2036064 w 3243072"/>
                <a:gd name="connsiteY82" fmla="*/ 2779776 h 6815328"/>
                <a:gd name="connsiteX83" fmla="*/ 2157984 w 3243072"/>
                <a:gd name="connsiteY83" fmla="*/ 2877312 h 6815328"/>
                <a:gd name="connsiteX84" fmla="*/ 2279904 w 3243072"/>
                <a:gd name="connsiteY84" fmla="*/ 3023616 h 6815328"/>
                <a:gd name="connsiteX85" fmla="*/ 2328672 w 3243072"/>
                <a:gd name="connsiteY85" fmla="*/ 3096768 h 6815328"/>
                <a:gd name="connsiteX86" fmla="*/ 2487168 w 3243072"/>
                <a:gd name="connsiteY86" fmla="*/ 3169920 h 6815328"/>
                <a:gd name="connsiteX87" fmla="*/ 2511552 w 3243072"/>
                <a:gd name="connsiteY87" fmla="*/ 3267456 h 6815328"/>
                <a:gd name="connsiteX88" fmla="*/ 2511552 w 3243072"/>
                <a:gd name="connsiteY88" fmla="*/ 3267456 h 6815328"/>
                <a:gd name="connsiteX89" fmla="*/ 2596896 w 3243072"/>
                <a:gd name="connsiteY89" fmla="*/ 3206496 h 6815328"/>
                <a:gd name="connsiteX90" fmla="*/ 2609088 w 3243072"/>
                <a:gd name="connsiteY90" fmla="*/ 3279648 h 6815328"/>
                <a:gd name="connsiteX91" fmla="*/ 2657856 w 3243072"/>
                <a:gd name="connsiteY91" fmla="*/ 3279648 h 6815328"/>
                <a:gd name="connsiteX92" fmla="*/ 2645664 w 3243072"/>
                <a:gd name="connsiteY92" fmla="*/ 3328416 h 6815328"/>
                <a:gd name="connsiteX93" fmla="*/ 2779776 w 3243072"/>
                <a:gd name="connsiteY93" fmla="*/ 3425952 h 6815328"/>
                <a:gd name="connsiteX94" fmla="*/ 2816352 w 3243072"/>
                <a:gd name="connsiteY94" fmla="*/ 3547872 h 6815328"/>
                <a:gd name="connsiteX95" fmla="*/ 2877312 w 3243072"/>
                <a:gd name="connsiteY95" fmla="*/ 3621024 h 6815328"/>
                <a:gd name="connsiteX96" fmla="*/ 2926080 w 3243072"/>
                <a:gd name="connsiteY96" fmla="*/ 3645408 h 6815328"/>
                <a:gd name="connsiteX97" fmla="*/ 2926080 w 3243072"/>
                <a:gd name="connsiteY97" fmla="*/ 3645408 h 6815328"/>
                <a:gd name="connsiteX98" fmla="*/ 2987040 w 3243072"/>
                <a:gd name="connsiteY98" fmla="*/ 3767328 h 6815328"/>
                <a:gd name="connsiteX99" fmla="*/ 3011424 w 3243072"/>
                <a:gd name="connsiteY99" fmla="*/ 3864864 h 6815328"/>
                <a:gd name="connsiteX100" fmla="*/ 3060192 w 3243072"/>
                <a:gd name="connsiteY100" fmla="*/ 4011168 h 6815328"/>
                <a:gd name="connsiteX101" fmla="*/ 3096768 w 3243072"/>
                <a:gd name="connsiteY101" fmla="*/ 4157472 h 6815328"/>
                <a:gd name="connsiteX102" fmla="*/ 3133344 w 3243072"/>
                <a:gd name="connsiteY102" fmla="*/ 4291584 h 6815328"/>
                <a:gd name="connsiteX103" fmla="*/ 3169920 w 3243072"/>
                <a:gd name="connsiteY103" fmla="*/ 4389120 h 6815328"/>
                <a:gd name="connsiteX104" fmla="*/ 3133344 w 3243072"/>
                <a:gd name="connsiteY104" fmla="*/ 4437888 h 6815328"/>
                <a:gd name="connsiteX105" fmla="*/ 3133344 w 3243072"/>
                <a:gd name="connsiteY105" fmla="*/ 4498848 h 6815328"/>
                <a:gd name="connsiteX106" fmla="*/ 3133344 w 3243072"/>
                <a:gd name="connsiteY106" fmla="*/ 4498848 h 6815328"/>
                <a:gd name="connsiteX107" fmla="*/ 3133344 w 3243072"/>
                <a:gd name="connsiteY107" fmla="*/ 4498848 h 6815328"/>
                <a:gd name="connsiteX108" fmla="*/ 3169920 w 3243072"/>
                <a:gd name="connsiteY108" fmla="*/ 4608576 h 6815328"/>
                <a:gd name="connsiteX109" fmla="*/ 3194304 w 3243072"/>
                <a:gd name="connsiteY109" fmla="*/ 4706112 h 6815328"/>
                <a:gd name="connsiteX110" fmla="*/ 3243072 w 3243072"/>
                <a:gd name="connsiteY110" fmla="*/ 4779264 h 6815328"/>
                <a:gd name="connsiteX111" fmla="*/ 3194304 w 3243072"/>
                <a:gd name="connsiteY111" fmla="*/ 4852416 h 6815328"/>
                <a:gd name="connsiteX112" fmla="*/ 3194304 w 3243072"/>
                <a:gd name="connsiteY112" fmla="*/ 4852416 h 6815328"/>
                <a:gd name="connsiteX113" fmla="*/ 3169920 w 3243072"/>
                <a:gd name="connsiteY113" fmla="*/ 4986528 h 6815328"/>
                <a:gd name="connsiteX114" fmla="*/ 3169920 w 3243072"/>
                <a:gd name="connsiteY114" fmla="*/ 5047488 h 6815328"/>
                <a:gd name="connsiteX115" fmla="*/ 3145536 w 3243072"/>
                <a:gd name="connsiteY115" fmla="*/ 5047488 h 6815328"/>
                <a:gd name="connsiteX116" fmla="*/ 3182112 w 3243072"/>
                <a:gd name="connsiteY116" fmla="*/ 5132832 h 6815328"/>
                <a:gd name="connsiteX117" fmla="*/ 3133344 w 3243072"/>
                <a:gd name="connsiteY117" fmla="*/ 5157216 h 6815328"/>
                <a:gd name="connsiteX118" fmla="*/ 3133344 w 3243072"/>
                <a:gd name="connsiteY118" fmla="*/ 5157216 h 6815328"/>
                <a:gd name="connsiteX119" fmla="*/ 3133344 w 3243072"/>
                <a:gd name="connsiteY119" fmla="*/ 5327904 h 6815328"/>
                <a:gd name="connsiteX120" fmla="*/ 3096768 w 3243072"/>
                <a:gd name="connsiteY120" fmla="*/ 5437632 h 6815328"/>
                <a:gd name="connsiteX121" fmla="*/ 3048000 w 3243072"/>
                <a:gd name="connsiteY121" fmla="*/ 5437632 h 6815328"/>
                <a:gd name="connsiteX122" fmla="*/ 3048000 w 3243072"/>
                <a:gd name="connsiteY122" fmla="*/ 5437632 h 6815328"/>
                <a:gd name="connsiteX123" fmla="*/ 2926080 w 3243072"/>
                <a:gd name="connsiteY123" fmla="*/ 5535168 h 6815328"/>
                <a:gd name="connsiteX124" fmla="*/ 2889504 w 3243072"/>
                <a:gd name="connsiteY124" fmla="*/ 5608320 h 6815328"/>
                <a:gd name="connsiteX125" fmla="*/ 2816352 w 3243072"/>
                <a:gd name="connsiteY125" fmla="*/ 5620512 h 6815328"/>
                <a:gd name="connsiteX126" fmla="*/ 2791968 w 3243072"/>
                <a:gd name="connsiteY126" fmla="*/ 5657088 h 6815328"/>
                <a:gd name="connsiteX127" fmla="*/ 2694432 w 3243072"/>
                <a:gd name="connsiteY127" fmla="*/ 5669280 h 6815328"/>
                <a:gd name="connsiteX128" fmla="*/ 2682240 w 3243072"/>
                <a:gd name="connsiteY128" fmla="*/ 5718048 h 6815328"/>
                <a:gd name="connsiteX129" fmla="*/ 2633472 w 3243072"/>
                <a:gd name="connsiteY129" fmla="*/ 5766816 h 6815328"/>
                <a:gd name="connsiteX130" fmla="*/ 2633472 w 3243072"/>
                <a:gd name="connsiteY130" fmla="*/ 5766816 h 6815328"/>
                <a:gd name="connsiteX131" fmla="*/ 2438400 w 3243072"/>
                <a:gd name="connsiteY131" fmla="*/ 5815584 h 6815328"/>
                <a:gd name="connsiteX132" fmla="*/ 2316480 w 3243072"/>
                <a:gd name="connsiteY132" fmla="*/ 5925312 h 6815328"/>
                <a:gd name="connsiteX133" fmla="*/ 2231136 w 3243072"/>
                <a:gd name="connsiteY133" fmla="*/ 5998464 h 6815328"/>
                <a:gd name="connsiteX134" fmla="*/ 2072640 w 3243072"/>
                <a:gd name="connsiteY134" fmla="*/ 5974080 h 6815328"/>
                <a:gd name="connsiteX135" fmla="*/ 2023872 w 3243072"/>
                <a:gd name="connsiteY135" fmla="*/ 6035040 h 6815328"/>
                <a:gd name="connsiteX136" fmla="*/ 2048256 w 3243072"/>
                <a:gd name="connsiteY136" fmla="*/ 6083808 h 6815328"/>
                <a:gd name="connsiteX137" fmla="*/ 1999488 w 3243072"/>
                <a:gd name="connsiteY137" fmla="*/ 6132576 h 6815328"/>
                <a:gd name="connsiteX138" fmla="*/ 1987296 w 3243072"/>
                <a:gd name="connsiteY138" fmla="*/ 6230112 h 6815328"/>
                <a:gd name="connsiteX139" fmla="*/ 1950720 w 3243072"/>
                <a:gd name="connsiteY139" fmla="*/ 6266688 h 6815328"/>
                <a:gd name="connsiteX140" fmla="*/ 1938528 w 3243072"/>
                <a:gd name="connsiteY140" fmla="*/ 6339840 h 6815328"/>
                <a:gd name="connsiteX141" fmla="*/ 1865376 w 3243072"/>
                <a:gd name="connsiteY141" fmla="*/ 6364224 h 6815328"/>
                <a:gd name="connsiteX142" fmla="*/ 1792224 w 3243072"/>
                <a:gd name="connsiteY142" fmla="*/ 6364224 h 6815328"/>
                <a:gd name="connsiteX143" fmla="*/ 1792224 w 3243072"/>
                <a:gd name="connsiteY143" fmla="*/ 6364224 h 6815328"/>
                <a:gd name="connsiteX144" fmla="*/ 1767840 w 3243072"/>
                <a:gd name="connsiteY144" fmla="*/ 6449568 h 6815328"/>
                <a:gd name="connsiteX145" fmla="*/ 1463040 w 3243072"/>
                <a:gd name="connsiteY145" fmla="*/ 6522720 h 6815328"/>
                <a:gd name="connsiteX146" fmla="*/ 1353312 w 3243072"/>
                <a:gd name="connsiteY146" fmla="*/ 6693408 h 6815328"/>
                <a:gd name="connsiteX147" fmla="*/ 1280160 w 3243072"/>
                <a:gd name="connsiteY147" fmla="*/ 6754368 h 6815328"/>
                <a:gd name="connsiteX148" fmla="*/ 1182624 w 3243072"/>
                <a:gd name="connsiteY148" fmla="*/ 6815328 h 6815328"/>
                <a:gd name="connsiteX149" fmla="*/ 1097280 w 3243072"/>
                <a:gd name="connsiteY149" fmla="*/ 6754368 h 6815328"/>
                <a:gd name="connsiteX150" fmla="*/ 1146048 w 3243072"/>
                <a:gd name="connsiteY150" fmla="*/ 6729984 h 6815328"/>
                <a:gd name="connsiteX151" fmla="*/ 1146048 w 3243072"/>
                <a:gd name="connsiteY151" fmla="*/ 6729984 h 6815328"/>
                <a:gd name="connsiteX152" fmla="*/ 1133856 w 3243072"/>
                <a:gd name="connsiteY152" fmla="*/ 6266688 h 6815328"/>
                <a:gd name="connsiteX153" fmla="*/ 1133856 w 3243072"/>
                <a:gd name="connsiteY153" fmla="*/ 6266688 h 6815328"/>
                <a:gd name="connsiteX154" fmla="*/ 1243584 w 3243072"/>
                <a:gd name="connsiteY154" fmla="*/ 6169152 h 6815328"/>
                <a:gd name="connsiteX155" fmla="*/ 1182624 w 3243072"/>
                <a:gd name="connsiteY155" fmla="*/ 6083808 h 6815328"/>
                <a:gd name="connsiteX156" fmla="*/ 1121664 w 3243072"/>
                <a:gd name="connsiteY156" fmla="*/ 6059424 h 6815328"/>
                <a:gd name="connsiteX157" fmla="*/ 999744 w 3243072"/>
                <a:gd name="connsiteY157" fmla="*/ 6059424 h 6815328"/>
                <a:gd name="connsiteX158" fmla="*/ 938784 w 3243072"/>
                <a:gd name="connsiteY158" fmla="*/ 5949696 h 6815328"/>
                <a:gd name="connsiteX159" fmla="*/ 1072896 w 3243072"/>
                <a:gd name="connsiteY159" fmla="*/ 5864352 h 6815328"/>
                <a:gd name="connsiteX160" fmla="*/ 1182624 w 3243072"/>
                <a:gd name="connsiteY160" fmla="*/ 5864352 h 6815328"/>
                <a:gd name="connsiteX161" fmla="*/ 1255776 w 3243072"/>
                <a:gd name="connsiteY161" fmla="*/ 5839968 h 6815328"/>
                <a:gd name="connsiteX162" fmla="*/ 1194816 w 3243072"/>
                <a:gd name="connsiteY162" fmla="*/ 5693664 h 6815328"/>
                <a:gd name="connsiteX163" fmla="*/ 1365504 w 3243072"/>
                <a:gd name="connsiteY163" fmla="*/ 5730240 h 6815328"/>
                <a:gd name="connsiteX164" fmla="*/ 1536192 w 3243072"/>
                <a:gd name="connsiteY164" fmla="*/ 5620512 h 6815328"/>
                <a:gd name="connsiteX165" fmla="*/ 1633728 w 3243072"/>
                <a:gd name="connsiteY165" fmla="*/ 5657088 h 6815328"/>
                <a:gd name="connsiteX166" fmla="*/ 1633728 w 3243072"/>
                <a:gd name="connsiteY166" fmla="*/ 5657088 h 6815328"/>
                <a:gd name="connsiteX167" fmla="*/ 1719072 w 3243072"/>
                <a:gd name="connsiteY167" fmla="*/ 5730240 h 6815328"/>
                <a:gd name="connsiteX168" fmla="*/ 1719072 w 3243072"/>
                <a:gd name="connsiteY168" fmla="*/ 5730240 h 6815328"/>
                <a:gd name="connsiteX169" fmla="*/ 1694688 w 3243072"/>
                <a:gd name="connsiteY169" fmla="*/ 5583936 h 6815328"/>
                <a:gd name="connsiteX170" fmla="*/ 1584960 w 3243072"/>
                <a:gd name="connsiteY170" fmla="*/ 5559552 h 6815328"/>
                <a:gd name="connsiteX171" fmla="*/ 1597152 w 3243072"/>
                <a:gd name="connsiteY171" fmla="*/ 5388864 h 6815328"/>
                <a:gd name="connsiteX172" fmla="*/ 1694688 w 3243072"/>
                <a:gd name="connsiteY172" fmla="*/ 5327904 h 6815328"/>
                <a:gd name="connsiteX173" fmla="*/ 1694688 w 3243072"/>
                <a:gd name="connsiteY173" fmla="*/ 5327904 h 6815328"/>
                <a:gd name="connsiteX174" fmla="*/ 1914144 w 3243072"/>
                <a:gd name="connsiteY174" fmla="*/ 5340096 h 6815328"/>
                <a:gd name="connsiteX175" fmla="*/ 1840992 w 3243072"/>
                <a:gd name="connsiteY175" fmla="*/ 5193792 h 6815328"/>
                <a:gd name="connsiteX176" fmla="*/ 2036064 w 3243072"/>
                <a:gd name="connsiteY176" fmla="*/ 5181600 h 6815328"/>
                <a:gd name="connsiteX177" fmla="*/ 2084832 w 3243072"/>
                <a:gd name="connsiteY177" fmla="*/ 5157216 h 6815328"/>
                <a:gd name="connsiteX178" fmla="*/ 2279904 w 3243072"/>
                <a:gd name="connsiteY178" fmla="*/ 5047488 h 6815328"/>
                <a:gd name="connsiteX179" fmla="*/ 2353056 w 3243072"/>
                <a:gd name="connsiteY179" fmla="*/ 5047488 h 6815328"/>
                <a:gd name="connsiteX180" fmla="*/ 2365248 w 3243072"/>
                <a:gd name="connsiteY180" fmla="*/ 4888992 h 6815328"/>
                <a:gd name="connsiteX181" fmla="*/ 2340864 w 3243072"/>
                <a:gd name="connsiteY181" fmla="*/ 4754880 h 6815328"/>
                <a:gd name="connsiteX182" fmla="*/ 2353056 w 3243072"/>
                <a:gd name="connsiteY182" fmla="*/ 4645152 h 6815328"/>
                <a:gd name="connsiteX183" fmla="*/ 2401824 w 3243072"/>
                <a:gd name="connsiteY183" fmla="*/ 4523232 h 6815328"/>
                <a:gd name="connsiteX184" fmla="*/ 2328672 w 3243072"/>
                <a:gd name="connsiteY184" fmla="*/ 4376928 h 6815328"/>
                <a:gd name="connsiteX185" fmla="*/ 2279904 w 3243072"/>
                <a:gd name="connsiteY185" fmla="*/ 4218432 h 6815328"/>
                <a:gd name="connsiteX186" fmla="*/ 2304288 w 3243072"/>
                <a:gd name="connsiteY186" fmla="*/ 4072128 h 6815328"/>
                <a:gd name="connsiteX187" fmla="*/ 2304288 w 3243072"/>
                <a:gd name="connsiteY187" fmla="*/ 4072128 h 6815328"/>
                <a:gd name="connsiteX188" fmla="*/ 2353056 w 3243072"/>
                <a:gd name="connsiteY188" fmla="*/ 3913632 h 6815328"/>
                <a:gd name="connsiteX189" fmla="*/ 2340864 w 3243072"/>
                <a:gd name="connsiteY189" fmla="*/ 3803904 h 6815328"/>
                <a:gd name="connsiteX190" fmla="*/ 2414016 w 3243072"/>
                <a:gd name="connsiteY190" fmla="*/ 3730752 h 6815328"/>
                <a:gd name="connsiteX191" fmla="*/ 2377440 w 3243072"/>
                <a:gd name="connsiteY191" fmla="*/ 3694176 h 6815328"/>
                <a:gd name="connsiteX192" fmla="*/ 2353056 w 3243072"/>
                <a:gd name="connsiteY192" fmla="*/ 3621024 h 6815328"/>
                <a:gd name="connsiteX193" fmla="*/ 2292096 w 3243072"/>
                <a:gd name="connsiteY193" fmla="*/ 3621024 h 6815328"/>
                <a:gd name="connsiteX194" fmla="*/ 2218944 w 3243072"/>
                <a:gd name="connsiteY194" fmla="*/ 3560064 h 6815328"/>
                <a:gd name="connsiteX195" fmla="*/ 2157984 w 3243072"/>
                <a:gd name="connsiteY195" fmla="*/ 3499104 h 6815328"/>
                <a:gd name="connsiteX196" fmla="*/ 2157984 w 3243072"/>
                <a:gd name="connsiteY196" fmla="*/ 3499104 h 6815328"/>
                <a:gd name="connsiteX197" fmla="*/ 2292096 w 3243072"/>
                <a:gd name="connsiteY197" fmla="*/ 3364992 h 6815328"/>
                <a:gd name="connsiteX198" fmla="*/ 2182368 w 3243072"/>
                <a:gd name="connsiteY198" fmla="*/ 3304032 h 6815328"/>
                <a:gd name="connsiteX199" fmla="*/ 2182368 w 3243072"/>
                <a:gd name="connsiteY199" fmla="*/ 3304032 h 6815328"/>
                <a:gd name="connsiteX200" fmla="*/ 2121408 w 3243072"/>
                <a:gd name="connsiteY200" fmla="*/ 3279648 h 6815328"/>
                <a:gd name="connsiteX201" fmla="*/ 2036064 w 3243072"/>
                <a:gd name="connsiteY201" fmla="*/ 3145536 h 6815328"/>
                <a:gd name="connsiteX202" fmla="*/ 1987296 w 3243072"/>
                <a:gd name="connsiteY202" fmla="*/ 3218688 h 6815328"/>
                <a:gd name="connsiteX203" fmla="*/ 1950720 w 3243072"/>
                <a:gd name="connsiteY203" fmla="*/ 3096768 h 6815328"/>
                <a:gd name="connsiteX204" fmla="*/ 1877568 w 3243072"/>
                <a:gd name="connsiteY204" fmla="*/ 3023616 h 6815328"/>
                <a:gd name="connsiteX205" fmla="*/ 1901952 w 3243072"/>
                <a:gd name="connsiteY205" fmla="*/ 2913888 h 6815328"/>
                <a:gd name="connsiteX206" fmla="*/ 1816608 w 3243072"/>
                <a:gd name="connsiteY206" fmla="*/ 2852928 h 6815328"/>
                <a:gd name="connsiteX207" fmla="*/ 1804416 w 3243072"/>
                <a:gd name="connsiteY207" fmla="*/ 2779776 h 6815328"/>
                <a:gd name="connsiteX208" fmla="*/ 1560576 w 3243072"/>
                <a:gd name="connsiteY208" fmla="*/ 2621280 h 6815328"/>
                <a:gd name="connsiteX209" fmla="*/ 1463040 w 3243072"/>
                <a:gd name="connsiteY209" fmla="*/ 2499360 h 6815328"/>
                <a:gd name="connsiteX210" fmla="*/ 1511808 w 3243072"/>
                <a:gd name="connsiteY210" fmla="*/ 2474976 h 6815328"/>
                <a:gd name="connsiteX211" fmla="*/ 1438656 w 3243072"/>
                <a:gd name="connsiteY211" fmla="*/ 2365248 h 6815328"/>
                <a:gd name="connsiteX212" fmla="*/ 1438656 w 3243072"/>
                <a:gd name="connsiteY212" fmla="*/ 2365248 h 6815328"/>
                <a:gd name="connsiteX213" fmla="*/ 1267968 w 3243072"/>
                <a:gd name="connsiteY213" fmla="*/ 2231136 h 6815328"/>
                <a:gd name="connsiteX214" fmla="*/ 1316736 w 3243072"/>
                <a:gd name="connsiteY214" fmla="*/ 2157984 h 6815328"/>
                <a:gd name="connsiteX215" fmla="*/ 1231392 w 3243072"/>
                <a:gd name="connsiteY215" fmla="*/ 2133600 h 6815328"/>
                <a:gd name="connsiteX216" fmla="*/ 1158240 w 3243072"/>
                <a:gd name="connsiteY216" fmla="*/ 2109216 h 6815328"/>
                <a:gd name="connsiteX217" fmla="*/ 1072896 w 3243072"/>
                <a:gd name="connsiteY217" fmla="*/ 2084832 h 6815328"/>
                <a:gd name="connsiteX218" fmla="*/ 1011936 w 3243072"/>
                <a:gd name="connsiteY218" fmla="*/ 2072640 h 6815328"/>
                <a:gd name="connsiteX219" fmla="*/ 1024128 w 3243072"/>
                <a:gd name="connsiteY219" fmla="*/ 1987296 h 6815328"/>
                <a:gd name="connsiteX220" fmla="*/ 975360 w 3243072"/>
                <a:gd name="connsiteY220" fmla="*/ 1999488 h 6815328"/>
                <a:gd name="connsiteX221" fmla="*/ 902208 w 3243072"/>
                <a:gd name="connsiteY221" fmla="*/ 1962912 h 6815328"/>
                <a:gd name="connsiteX222" fmla="*/ 902208 w 3243072"/>
                <a:gd name="connsiteY222" fmla="*/ 1962912 h 6815328"/>
                <a:gd name="connsiteX223" fmla="*/ 841248 w 3243072"/>
                <a:gd name="connsiteY223" fmla="*/ 1926336 h 6815328"/>
                <a:gd name="connsiteX224" fmla="*/ 743712 w 3243072"/>
                <a:gd name="connsiteY224" fmla="*/ 1889760 h 6815328"/>
                <a:gd name="connsiteX225" fmla="*/ 743712 w 3243072"/>
                <a:gd name="connsiteY225" fmla="*/ 1804416 h 6815328"/>
                <a:gd name="connsiteX226" fmla="*/ 829056 w 3243072"/>
                <a:gd name="connsiteY226" fmla="*/ 1767840 h 6815328"/>
                <a:gd name="connsiteX227" fmla="*/ 792480 w 3243072"/>
                <a:gd name="connsiteY227" fmla="*/ 1682496 h 6815328"/>
                <a:gd name="connsiteX228" fmla="*/ 792480 w 3243072"/>
                <a:gd name="connsiteY228" fmla="*/ 1682496 h 6815328"/>
                <a:gd name="connsiteX229" fmla="*/ 914400 w 3243072"/>
                <a:gd name="connsiteY229" fmla="*/ 1670304 h 6815328"/>
                <a:gd name="connsiteX230" fmla="*/ 1011936 w 3243072"/>
                <a:gd name="connsiteY230" fmla="*/ 1682496 h 6815328"/>
                <a:gd name="connsiteX231" fmla="*/ 1024128 w 3243072"/>
                <a:gd name="connsiteY231" fmla="*/ 1645920 h 6815328"/>
                <a:gd name="connsiteX232" fmla="*/ 1060704 w 3243072"/>
                <a:gd name="connsiteY232" fmla="*/ 1719072 h 6815328"/>
                <a:gd name="connsiteX233" fmla="*/ 1194816 w 3243072"/>
                <a:gd name="connsiteY233" fmla="*/ 1609344 h 6815328"/>
                <a:gd name="connsiteX234" fmla="*/ 1158240 w 3243072"/>
                <a:gd name="connsiteY234" fmla="*/ 1597152 h 6815328"/>
                <a:gd name="connsiteX235" fmla="*/ 1182624 w 3243072"/>
                <a:gd name="connsiteY235" fmla="*/ 1511808 h 6815328"/>
                <a:gd name="connsiteX236" fmla="*/ 1182624 w 3243072"/>
                <a:gd name="connsiteY236" fmla="*/ 1511808 h 6815328"/>
                <a:gd name="connsiteX237" fmla="*/ 1072896 w 3243072"/>
                <a:gd name="connsiteY237" fmla="*/ 1450848 h 6815328"/>
                <a:gd name="connsiteX238" fmla="*/ 1072896 w 3243072"/>
                <a:gd name="connsiteY238" fmla="*/ 1353312 h 6815328"/>
                <a:gd name="connsiteX239" fmla="*/ 963168 w 3243072"/>
                <a:gd name="connsiteY239" fmla="*/ 1353312 h 6815328"/>
                <a:gd name="connsiteX240" fmla="*/ 963168 w 3243072"/>
                <a:gd name="connsiteY240" fmla="*/ 1353312 h 6815328"/>
                <a:gd name="connsiteX241" fmla="*/ 1048512 w 3243072"/>
                <a:gd name="connsiteY241" fmla="*/ 1243584 h 6815328"/>
                <a:gd name="connsiteX242" fmla="*/ 1024128 w 3243072"/>
                <a:gd name="connsiteY242" fmla="*/ 1182624 h 6815328"/>
                <a:gd name="connsiteX243" fmla="*/ 975360 w 3243072"/>
                <a:gd name="connsiteY243" fmla="*/ 1182624 h 6815328"/>
                <a:gd name="connsiteX244" fmla="*/ 890016 w 3243072"/>
                <a:gd name="connsiteY244" fmla="*/ 1121664 h 6815328"/>
                <a:gd name="connsiteX245" fmla="*/ 816864 w 3243072"/>
                <a:gd name="connsiteY245" fmla="*/ 1121664 h 6815328"/>
                <a:gd name="connsiteX246" fmla="*/ 719328 w 3243072"/>
                <a:gd name="connsiteY246" fmla="*/ 1158240 h 6815328"/>
                <a:gd name="connsiteX247" fmla="*/ 694944 w 3243072"/>
                <a:gd name="connsiteY247" fmla="*/ 1255776 h 6815328"/>
                <a:gd name="connsiteX248" fmla="*/ 609600 w 3243072"/>
                <a:gd name="connsiteY248" fmla="*/ 1182624 h 6815328"/>
                <a:gd name="connsiteX249" fmla="*/ 560832 w 3243072"/>
                <a:gd name="connsiteY249" fmla="*/ 1207008 h 6815328"/>
                <a:gd name="connsiteX250" fmla="*/ 463296 w 3243072"/>
                <a:gd name="connsiteY250" fmla="*/ 1158240 h 6815328"/>
                <a:gd name="connsiteX251" fmla="*/ 463296 w 3243072"/>
                <a:gd name="connsiteY251" fmla="*/ 1158240 h 6815328"/>
                <a:gd name="connsiteX252" fmla="*/ 390144 w 3243072"/>
                <a:gd name="connsiteY252" fmla="*/ 1085088 h 6815328"/>
                <a:gd name="connsiteX253" fmla="*/ 390144 w 3243072"/>
                <a:gd name="connsiteY253" fmla="*/ 1085088 h 6815328"/>
                <a:gd name="connsiteX254" fmla="*/ 304800 w 3243072"/>
                <a:gd name="connsiteY254" fmla="*/ 975360 h 6815328"/>
                <a:gd name="connsiteX255" fmla="*/ 341376 w 3243072"/>
                <a:gd name="connsiteY255" fmla="*/ 914400 h 6815328"/>
                <a:gd name="connsiteX256" fmla="*/ 329184 w 3243072"/>
                <a:gd name="connsiteY256" fmla="*/ 865632 h 6815328"/>
                <a:gd name="connsiteX257" fmla="*/ 365760 w 3243072"/>
                <a:gd name="connsiteY257" fmla="*/ 816864 h 6815328"/>
                <a:gd name="connsiteX258" fmla="*/ 365760 w 3243072"/>
                <a:gd name="connsiteY258" fmla="*/ 731520 h 6815328"/>
                <a:gd name="connsiteX259" fmla="*/ 280416 w 3243072"/>
                <a:gd name="connsiteY259" fmla="*/ 804672 h 6815328"/>
                <a:gd name="connsiteX260" fmla="*/ 207264 w 3243072"/>
                <a:gd name="connsiteY260" fmla="*/ 682752 h 6815328"/>
                <a:gd name="connsiteX261" fmla="*/ 158496 w 3243072"/>
                <a:gd name="connsiteY261" fmla="*/ 597408 h 6815328"/>
                <a:gd name="connsiteX262" fmla="*/ 109728 w 3243072"/>
                <a:gd name="connsiteY262" fmla="*/ 524256 h 6815328"/>
                <a:gd name="connsiteX263" fmla="*/ 48768 w 3243072"/>
                <a:gd name="connsiteY263" fmla="*/ 524256 h 6815328"/>
                <a:gd name="connsiteX264" fmla="*/ 0 w 3243072"/>
                <a:gd name="connsiteY264"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14400 w 3243072"/>
                <a:gd name="connsiteY17" fmla="*/ 207264 h 6815328"/>
                <a:gd name="connsiteX18" fmla="*/ 950976 w 3243072"/>
                <a:gd name="connsiteY18" fmla="*/ 304800 h 6815328"/>
                <a:gd name="connsiteX19" fmla="*/ 1097280 w 3243072"/>
                <a:gd name="connsiteY19" fmla="*/ 219456 h 6815328"/>
                <a:gd name="connsiteX20" fmla="*/ 1146048 w 3243072"/>
                <a:gd name="connsiteY20" fmla="*/ 243840 h 6815328"/>
                <a:gd name="connsiteX21" fmla="*/ 1146048 w 3243072"/>
                <a:gd name="connsiteY21" fmla="*/ 243840 h 6815328"/>
                <a:gd name="connsiteX22" fmla="*/ 1158240 w 3243072"/>
                <a:gd name="connsiteY22" fmla="*/ 134112 h 6815328"/>
                <a:gd name="connsiteX23" fmla="*/ 1231392 w 3243072"/>
                <a:gd name="connsiteY23" fmla="*/ 60960 h 6815328"/>
                <a:gd name="connsiteX24" fmla="*/ 1341120 w 3243072"/>
                <a:gd name="connsiteY24" fmla="*/ 36576 h 6815328"/>
                <a:gd name="connsiteX25" fmla="*/ 1377696 w 3243072"/>
                <a:gd name="connsiteY25" fmla="*/ 0 h 6815328"/>
                <a:gd name="connsiteX26" fmla="*/ 1511808 w 3243072"/>
                <a:gd name="connsiteY26" fmla="*/ 121920 h 6815328"/>
                <a:gd name="connsiteX27" fmla="*/ 1511808 w 3243072"/>
                <a:gd name="connsiteY27" fmla="*/ 121920 h 6815328"/>
                <a:gd name="connsiteX28" fmla="*/ 1633728 w 3243072"/>
                <a:gd name="connsiteY28" fmla="*/ 195072 h 6815328"/>
                <a:gd name="connsiteX29" fmla="*/ 1682496 w 3243072"/>
                <a:gd name="connsiteY29" fmla="*/ 158496 h 6815328"/>
                <a:gd name="connsiteX30" fmla="*/ 1755648 w 3243072"/>
                <a:gd name="connsiteY30" fmla="*/ 158496 h 6815328"/>
                <a:gd name="connsiteX31" fmla="*/ 1816608 w 3243072"/>
                <a:gd name="connsiteY31" fmla="*/ 207264 h 6815328"/>
                <a:gd name="connsiteX32" fmla="*/ 1889760 w 3243072"/>
                <a:gd name="connsiteY32" fmla="*/ 195072 h 6815328"/>
                <a:gd name="connsiteX33" fmla="*/ 1975104 w 3243072"/>
                <a:gd name="connsiteY33" fmla="*/ 256032 h 6815328"/>
                <a:gd name="connsiteX34" fmla="*/ 2036064 w 3243072"/>
                <a:gd name="connsiteY34" fmla="*/ 256032 h 6815328"/>
                <a:gd name="connsiteX35" fmla="*/ 1999488 w 3243072"/>
                <a:gd name="connsiteY35" fmla="*/ 365760 h 6815328"/>
                <a:gd name="connsiteX36" fmla="*/ 1938528 w 3243072"/>
                <a:gd name="connsiteY36" fmla="*/ 377952 h 6815328"/>
                <a:gd name="connsiteX37" fmla="*/ 1962912 w 3243072"/>
                <a:gd name="connsiteY37" fmla="*/ 487680 h 6815328"/>
                <a:gd name="connsiteX38" fmla="*/ 1999488 w 3243072"/>
                <a:gd name="connsiteY38" fmla="*/ 499872 h 6815328"/>
                <a:gd name="connsiteX39" fmla="*/ 1975104 w 3243072"/>
                <a:gd name="connsiteY39" fmla="*/ 609600 h 6815328"/>
                <a:gd name="connsiteX40" fmla="*/ 2023872 w 3243072"/>
                <a:gd name="connsiteY40" fmla="*/ 633984 h 6815328"/>
                <a:gd name="connsiteX41" fmla="*/ 2072640 w 3243072"/>
                <a:gd name="connsiteY41" fmla="*/ 621792 h 6815328"/>
                <a:gd name="connsiteX42" fmla="*/ 2121408 w 3243072"/>
                <a:gd name="connsiteY42" fmla="*/ 633984 h 6815328"/>
                <a:gd name="connsiteX43" fmla="*/ 2145792 w 3243072"/>
                <a:gd name="connsiteY43" fmla="*/ 719328 h 6815328"/>
                <a:gd name="connsiteX44" fmla="*/ 2145792 w 3243072"/>
                <a:gd name="connsiteY44" fmla="*/ 719328 h 6815328"/>
                <a:gd name="connsiteX45" fmla="*/ 2304288 w 3243072"/>
                <a:gd name="connsiteY45" fmla="*/ 743712 h 6815328"/>
                <a:gd name="connsiteX46" fmla="*/ 2328672 w 3243072"/>
                <a:gd name="connsiteY46" fmla="*/ 780288 h 6815328"/>
                <a:gd name="connsiteX47" fmla="*/ 2401824 w 3243072"/>
                <a:gd name="connsiteY47" fmla="*/ 768096 h 6815328"/>
                <a:gd name="connsiteX48" fmla="*/ 2438400 w 3243072"/>
                <a:gd name="connsiteY48" fmla="*/ 768096 h 6815328"/>
                <a:gd name="connsiteX49" fmla="*/ 2535936 w 3243072"/>
                <a:gd name="connsiteY49" fmla="*/ 829056 h 6815328"/>
                <a:gd name="connsiteX50" fmla="*/ 2523744 w 3243072"/>
                <a:gd name="connsiteY50" fmla="*/ 877824 h 6815328"/>
                <a:gd name="connsiteX51" fmla="*/ 2487168 w 3243072"/>
                <a:gd name="connsiteY51" fmla="*/ 877824 h 6815328"/>
                <a:gd name="connsiteX52" fmla="*/ 2426208 w 3243072"/>
                <a:gd name="connsiteY52" fmla="*/ 914400 h 6815328"/>
                <a:gd name="connsiteX53" fmla="*/ 2353056 w 3243072"/>
                <a:gd name="connsiteY53" fmla="*/ 963168 h 6815328"/>
                <a:gd name="connsiteX54" fmla="*/ 2316480 w 3243072"/>
                <a:gd name="connsiteY54" fmla="*/ 1036320 h 6815328"/>
                <a:gd name="connsiteX55" fmla="*/ 2255520 w 3243072"/>
                <a:gd name="connsiteY55" fmla="*/ 1097280 h 6815328"/>
                <a:gd name="connsiteX56" fmla="*/ 2255520 w 3243072"/>
                <a:gd name="connsiteY56" fmla="*/ 1097280 h 6815328"/>
                <a:gd name="connsiteX57" fmla="*/ 2097024 w 3243072"/>
                <a:gd name="connsiteY57" fmla="*/ 1121664 h 6815328"/>
                <a:gd name="connsiteX58" fmla="*/ 2011680 w 3243072"/>
                <a:gd name="connsiteY58" fmla="*/ 1158240 h 6815328"/>
                <a:gd name="connsiteX59" fmla="*/ 1999488 w 3243072"/>
                <a:gd name="connsiteY59" fmla="*/ 1219200 h 6815328"/>
                <a:gd name="connsiteX60" fmla="*/ 1975104 w 3243072"/>
                <a:gd name="connsiteY60" fmla="*/ 1280160 h 6815328"/>
                <a:gd name="connsiteX61" fmla="*/ 1938528 w 3243072"/>
                <a:gd name="connsiteY61" fmla="*/ 1389888 h 6815328"/>
                <a:gd name="connsiteX62" fmla="*/ 1901952 w 3243072"/>
                <a:gd name="connsiteY62" fmla="*/ 1426464 h 6815328"/>
                <a:gd name="connsiteX63" fmla="*/ 1853184 w 3243072"/>
                <a:gd name="connsiteY63" fmla="*/ 1499616 h 6815328"/>
                <a:gd name="connsiteX64" fmla="*/ 1853184 w 3243072"/>
                <a:gd name="connsiteY64" fmla="*/ 1499616 h 6815328"/>
                <a:gd name="connsiteX65" fmla="*/ 1792224 w 3243072"/>
                <a:gd name="connsiteY65" fmla="*/ 1487424 h 6815328"/>
                <a:gd name="connsiteX66" fmla="*/ 1743456 w 3243072"/>
                <a:gd name="connsiteY66" fmla="*/ 1572768 h 6815328"/>
                <a:gd name="connsiteX67" fmla="*/ 1670304 w 3243072"/>
                <a:gd name="connsiteY67" fmla="*/ 1560576 h 6815328"/>
                <a:gd name="connsiteX68" fmla="*/ 1633728 w 3243072"/>
                <a:gd name="connsiteY68" fmla="*/ 1706880 h 6815328"/>
                <a:gd name="connsiteX69" fmla="*/ 1584960 w 3243072"/>
                <a:gd name="connsiteY69" fmla="*/ 1780032 h 6815328"/>
                <a:gd name="connsiteX70" fmla="*/ 1609344 w 3243072"/>
                <a:gd name="connsiteY70" fmla="*/ 1865376 h 6815328"/>
                <a:gd name="connsiteX71" fmla="*/ 1584960 w 3243072"/>
                <a:gd name="connsiteY71" fmla="*/ 1926336 h 6815328"/>
                <a:gd name="connsiteX72" fmla="*/ 1572768 w 3243072"/>
                <a:gd name="connsiteY72" fmla="*/ 1987296 h 6815328"/>
                <a:gd name="connsiteX73" fmla="*/ 1524000 w 3243072"/>
                <a:gd name="connsiteY73" fmla="*/ 1999488 h 6815328"/>
                <a:gd name="connsiteX74" fmla="*/ 1560576 w 3243072"/>
                <a:gd name="connsiteY74" fmla="*/ 2097024 h 6815328"/>
                <a:gd name="connsiteX75" fmla="*/ 1645920 w 3243072"/>
                <a:gd name="connsiteY75" fmla="*/ 2231136 h 6815328"/>
                <a:gd name="connsiteX76" fmla="*/ 1645920 w 3243072"/>
                <a:gd name="connsiteY76" fmla="*/ 2231136 h 6815328"/>
                <a:gd name="connsiteX77" fmla="*/ 1767840 w 3243072"/>
                <a:gd name="connsiteY77" fmla="*/ 2328672 h 6815328"/>
                <a:gd name="connsiteX78" fmla="*/ 1816608 w 3243072"/>
                <a:gd name="connsiteY78" fmla="*/ 2414016 h 6815328"/>
                <a:gd name="connsiteX79" fmla="*/ 1865376 w 3243072"/>
                <a:gd name="connsiteY79" fmla="*/ 2377440 h 6815328"/>
                <a:gd name="connsiteX80" fmla="*/ 1926336 w 3243072"/>
                <a:gd name="connsiteY80" fmla="*/ 2462784 h 6815328"/>
                <a:gd name="connsiteX81" fmla="*/ 1901952 w 3243072"/>
                <a:gd name="connsiteY81" fmla="*/ 2535936 h 6815328"/>
                <a:gd name="connsiteX82" fmla="*/ 2036064 w 3243072"/>
                <a:gd name="connsiteY82" fmla="*/ 2779776 h 6815328"/>
                <a:gd name="connsiteX83" fmla="*/ 2157984 w 3243072"/>
                <a:gd name="connsiteY83" fmla="*/ 2877312 h 6815328"/>
                <a:gd name="connsiteX84" fmla="*/ 2279904 w 3243072"/>
                <a:gd name="connsiteY84" fmla="*/ 3023616 h 6815328"/>
                <a:gd name="connsiteX85" fmla="*/ 2328672 w 3243072"/>
                <a:gd name="connsiteY85" fmla="*/ 3096768 h 6815328"/>
                <a:gd name="connsiteX86" fmla="*/ 2487168 w 3243072"/>
                <a:gd name="connsiteY86" fmla="*/ 3169920 h 6815328"/>
                <a:gd name="connsiteX87" fmla="*/ 2511552 w 3243072"/>
                <a:gd name="connsiteY87" fmla="*/ 3267456 h 6815328"/>
                <a:gd name="connsiteX88" fmla="*/ 2511552 w 3243072"/>
                <a:gd name="connsiteY88" fmla="*/ 3267456 h 6815328"/>
                <a:gd name="connsiteX89" fmla="*/ 2596896 w 3243072"/>
                <a:gd name="connsiteY89" fmla="*/ 3206496 h 6815328"/>
                <a:gd name="connsiteX90" fmla="*/ 2609088 w 3243072"/>
                <a:gd name="connsiteY90" fmla="*/ 3279648 h 6815328"/>
                <a:gd name="connsiteX91" fmla="*/ 2657856 w 3243072"/>
                <a:gd name="connsiteY91" fmla="*/ 3279648 h 6815328"/>
                <a:gd name="connsiteX92" fmla="*/ 2645664 w 3243072"/>
                <a:gd name="connsiteY92" fmla="*/ 3328416 h 6815328"/>
                <a:gd name="connsiteX93" fmla="*/ 2779776 w 3243072"/>
                <a:gd name="connsiteY93" fmla="*/ 3425952 h 6815328"/>
                <a:gd name="connsiteX94" fmla="*/ 2816352 w 3243072"/>
                <a:gd name="connsiteY94" fmla="*/ 3547872 h 6815328"/>
                <a:gd name="connsiteX95" fmla="*/ 2877312 w 3243072"/>
                <a:gd name="connsiteY95" fmla="*/ 3621024 h 6815328"/>
                <a:gd name="connsiteX96" fmla="*/ 2926080 w 3243072"/>
                <a:gd name="connsiteY96" fmla="*/ 3645408 h 6815328"/>
                <a:gd name="connsiteX97" fmla="*/ 2926080 w 3243072"/>
                <a:gd name="connsiteY97" fmla="*/ 3645408 h 6815328"/>
                <a:gd name="connsiteX98" fmla="*/ 2987040 w 3243072"/>
                <a:gd name="connsiteY98" fmla="*/ 3767328 h 6815328"/>
                <a:gd name="connsiteX99" fmla="*/ 3011424 w 3243072"/>
                <a:gd name="connsiteY99" fmla="*/ 3864864 h 6815328"/>
                <a:gd name="connsiteX100" fmla="*/ 3060192 w 3243072"/>
                <a:gd name="connsiteY100" fmla="*/ 4011168 h 6815328"/>
                <a:gd name="connsiteX101" fmla="*/ 3096768 w 3243072"/>
                <a:gd name="connsiteY101" fmla="*/ 4157472 h 6815328"/>
                <a:gd name="connsiteX102" fmla="*/ 3133344 w 3243072"/>
                <a:gd name="connsiteY102" fmla="*/ 4291584 h 6815328"/>
                <a:gd name="connsiteX103" fmla="*/ 3169920 w 3243072"/>
                <a:gd name="connsiteY103" fmla="*/ 4389120 h 6815328"/>
                <a:gd name="connsiteX104" fmla="*/ 3133344 w 3243072"/>
                <a:gd name="connsiteY104" fmla="*/ 4437888 h 6815328"/>
                <a:gd name="connsiteX105" fmla="*/ 3133344 w 3243072"/>
                <a:gd name="connsiteY105" fmla="*/ 4498848 h 6815328"/>
                <a:gd name="connsiteX106" fmla="*/ 3133344 w 3243072"/>
                <a:gd name="connsiteY106" fmla="*/ 4498848 h 6815328"/>
                <a:gd name="connsiteX107" fmla="*/ 3133344 w 3243072"/>
                <a:gd name="connsiteY107" fmla="*/ 4498848 h 6815328"/>
                <a:gd name="connsiteX108" fmla="*/ 3169920 w 3243072"/>
                <a:gd name="connsiteY108" fmla="*/ 4608576 h 6815328"/>
                <a:gd name="connsiteX109" fmla="*/ 3194304 w 3243072"/>
                <a:gd name="connsiteY109" fmla="*/ 4706112 h 6815328"/>
                <a:gd name="connsiteX110" fmla="*/ 3243072 w 3243072"/>
                <a:gd name="connsiteY110" fmla="*/ 4779264 h 6815328"/>
                <a:gd name="connsiteX111" fmla="*/ 3194304 w 3243072"/>
                <a:gd name="connsiteY111" fmla="*/ 4852416 h 6815328"/>
                <a:gd name="connsiteX112" fmla="*/ 3194304 w 3243072"/>
                <a:gd name="connsiteY112" fmla="*/ 4852416 h 6815328"/>
                <a:gd name="connsiteX113" fmla="*/ 3169920 w 3243072"/>
                <a:gd name="connsiteY113" fmla="*/ 4986528 h 6815328"/>
                <a:gd name="connsiteX114" fmla="*/ 3169920 w 3243072"/>
                <a:gd name="connsiteY114" fmla="*/ 5047488 h 6815328"/>
                <a:gd name="connsiteX115" fmla="*/ 3145536 w 3243072"/>
                <a:gd name="connsiteY115" fmla="*/ 5047488 h 6815328"/>
                <a:gd name="connsiteX116" fmla="*/ 3182112 w 3243072"/>
                <a:gd name="connsiteY116" fmla="*/ 5132832 h 6815328"/>
                <a:gd name="connsiteX117" fmla="*/ 3133344 w 3243072"/>
                <a:gd name="connsiteY117" fmla="*/ 5157216 h 6815328"/>
                <a:gd name="connsiteX118" fmla="*/ 3133344 w 3243072"/>
                <a:gd name="connsiteY118" fmla="*/ 5157216 h 6815328"/>
                <a:gd name="connsiteX119" fmla="*/ 3133344 w 3243072"/>
                <a:gd name="connsiteY119" fmla="*/ 5327904 h 6815328"/>
                <a:gd name="connsiteX120" fmla="*/ 3096768 w 3243072"/>
                <a:gd name="connsiteY120" fmla="*/ 5437632 h 6815328"/>
                <a:gd name="connsiteX121" fmla="*/ 3048000 w 3243072"/>
                <a:gd name="connsiteY121" fmla="*/ 5437632 h 6815328"/>
                <a:gd name="connsiteX122" fmla="*/ 3048000 w 3243072"/>
                <a:gd name="connsiteY122" fmla="*/ 5437632 h 6815328"/>
                <a:gd name="connsiteX123" fmla="*/ 2926080 w 3243072"/>
                <a:gd name="connsiteY123" fmla="*/ 5535168 h 6815328"/>
                <a:gd name="connsiteX124" fmla="*/ 2889504 w 3243072"/>
                <a:gd name="connsiteY124" fmla="*/ 5608320 h 6815328"/>
                <a:gd name="connsiteX125" fmla="*/ 2816352 w 3243072"/>
                <a:gd name="connsiteY125" fmla="*/ 5620512 h 6815328"/>
                <a:gd name="connsiteX126" fmla="*/ 2791968 w 3243072"/>
                <a:gd name="connsiteY126" fmla="*/ 5657088 h 6815328"/>
                <a:gd name="connsiteX127" fmla="*/ 2694432 w 3243072"/>
                <a:gd name="connsiteY127" fmla="*/ 5669280 h 6815328"/>
                <a:gd name="connsiteX128" fmla="*/ 2682240 w 3243072"/>
                <a:gd name="connsiteY128" fmla="*/ 5718048 h 6815328"/>
                <a:gd name="connsiteX129" fmla="*/ 2633472 w 3243072"/>
                <a:gd name="connsiteY129" fmla="*/ 5766816 h 6815328"/>
                <a:gd name="connsiteX130" fmla="*/ 2633472 w 3243072"/>
                <a:gd name="connsiteY130" fmla="*/ 5766816 h 6815328"/>
                <a:gd name="connsiteX131" fmla="*/ 2438400 w 3243072"/>
                <a:gd name="connsiteY131" fmla="*/ 5815584 h 6815328"/>
                <a:gd name="connsiteX132" fmla="*/ 2316480 w 3243072"/>
                <a:gd name="connsiteY132" fmla="*/ 5925312 h 6815328"/>
                <a:gd name="connsiteX133" fmla="*/ 2231136 w 3243072"/>
                <a:gd name="connsiteY133" fmla="*/ 5998464 h 6815328"/>
                <a:gd name="connsiteX134" fmla="*/ 2072640 w 3243072"/>
                <a:gd name="connsiteY134" fmla="*/ 5974080 h 6815328"/>
                <a:gd name="connsiteX135" fmla="*/ 2023872 w 3243072"/>
                <a:gd name="connsiteY135" fmla="*/ 6035040 h 6815328"/>
                <a:gd name="connsiteX136" fmla="*/ 2048256 w 3243072"/>
                <a:gd name="connsiteY136" fmla="*/ 6083808 h 6815328"/>
                <a:gd name="connsiteX137" fmla="*/ 1999488 w 3243072"/>
                <a:gd name="connsiteY137" fmla="*/ 6132576 h 6815328"/>
                <a:gd name="connsiteX138" fmla="*/ 1987296 w 3243072"/>
                <a:gd name="connsiteY138" fmla="*/ 6230112 h 6815328"/>
                <a:gd name="connsiteX139" fmla="*/ 1950720 w 3243072"/>
                <a:gd name="connsiteY139" fmla="*/ 6266688 h 6815328"/>
                <a:gd name="connsiteX140" fmla="*/ 1938528 w 3243072"/>
                <a:gd name="connsiteY140" fmla="*/ 6339840 h 6815328"/>
                <a:gd name="connsiteX141" fmla="*/ 1865376 w 3243072"/>
                <a:gd name="connsiteY141" fmla="*/ 6364224 h 6815328"/>
                <a:gd name="connsiteX142" fmla="*/ 1792224 w 3243072"/>
                <a:gd name="connsiteY142" fmla="*/ 6364224 h 6815328"/>
                <a:gd name="connsiteX143" fmla="*/ 1792224 w 3243072"/>
                <a:gd name="connsiteY143" fmla="*/ 6364224 h 6815328"/>
                <a:gd name="connsiteX144" fmla="*/ 1767840 w 3243072"/>
                <a:gd name="connsiteY144" fmla="*/ 6449568 h 6815328"/>
                <a:gd name="connsiteX145" fmla="*/ 1463040 w 3243072"/>
                <a:gd name="connsiteY145" fmla="*/ 6522720 h 6815328"/>
                <a:gd name="connsiteX146" fmla="*/ 1353312 w 3243072"/>
                <a:gd name="connsiteY146" fmla="*/ 6693408 h 6815328"/>
                <a:gd name="connsiteX147" fmla="*/ 1280160 w 3243072"/>
                <a:gd name="connsiteY147" fmla="*/ 6754368 h 6815328"/>
                <a:gd name="connsiteX148" fmla="*/ 1182624 w 3243072"/>
                <a:gd name="connsiteY148" fmla="*/ 6815328 h 6815328"/>
                <a:gd name="connsiteX149" fmla="*/ 1097280 w 3243072"/>
                <a:gd name="connsiteY149" fmla="*/ 6754368 h 6815328"/>
                <a:gd name="connsiteX150" fmla="*/ 1146048 w 3243072"/>
                <a:gd name="connsiteY150" fmla="*/ 6729984 h 6815328"/>
                <a:gd name="connsiteX151" fmla="*/ 1146048 w 3243072"/>
                <a:gd name="connsiteY151" fmla="*/ 6729984 h 6815328"/>
                <a:gd name="connsiteX152" fmla="*/ 1133856 w 3243072"/>
                <a:gd name="connsiteY152" fmla="*/ 6266688 h 6815328"/>
                <a:gd name="connsiteX153" fmla="*/ 1133856 w 3243072"/>
                <a:gd name="connsiteY153" fmla="*/ 6266688 h 6815328"/>
                <a:gd name="connsiteX154" fmla="*/ 1243584 w 3243072"/>
                <a:gd name="connsiteY154" fmla="*/ 6169152 h 6815328"/>
                <a:gd name="connsiteX155" fmla="*/ 1182624 w 3243072"/>
                <a:gd name="connsiteY155" fmla="*/ 6083808 h 6815328"/>
                <a:gd name="connsiteX156" fmla="*/ 1121664 w 3243072"/>
                <a:gd name="connsiteY156" fmla="*/ 6059424 h 6815328"/>
                <a:gd name="connsiteX157" fmla="*/ 999744 w 3243072"/>
                <a:gd name="connsiteY157" fmla="*/ 6059424 h 6815328"/>
                <a:gd name="connsiteX158" fmla="*/ 938784 w 3243072"/>
                <a:gd name="connsiteY158" fmla="*/ 5949696 h 6815328"/>
                <a:gd name="connsiteX159" fmla="*/ 1072896 w 3243072"/>
                <a:gd name="connsiteY159" fmla="*/ 5864352 h 6815328"/>
                <a:gd name="connsiteX160" fmla="*/ 1182624 w 3243072"/>
                <a:gd name="connsiteY160" fmla="*/ 5864352 h 6815328"/>
                <a:gd name="connsiteX161" fmla="*/ 1255776 w 3243072"/>
                <a:gd name="connsiteY161" fmla="*/ 5839968 h 6815328"/>
                <a:gd name="connsiteX162" fmla="*/ 1194816 w 3243072"/>
                <a:gd name="connsiteY162" fmla="*/ 5693664 h 6815328"/>
                <a:gd name="connsiteX163" fmla="*/ 1365504 w 3243072"/>
                <a:gd name="connsiteY163" fmla="*/ 5730240 h 6815328"/>
                <a:gd name="connsiteX164" fmla="*/ 1536192 w 3243072"/>
                <a:gd name="connsiteY164" fmla="*/ 5620512 h 6815328"/>
                <a:gd name="connsiteX165" fmla="*/ 1633728 w 3243072"/>
                <a:gd name="connsiteY165" fmla="*/ 5657088 h 6815328"/>
                <a:gd name="connsiteX166" fmla="*/ 1633728 w 3243072"/>
                <a:gd name="connsiteY166" fmla="*/ 5657088 h 6815328"/>
                <a:gd name="connsiteX167" fmla="*/ 1719072 w 3243072"/>
                <a:gd name="connsiteY167" fmla="*/ 5730240 h 6815328"/>
                <a:gd name="connsiteX168" fmla="*/ 1719072 w 3243072"/>
                <a:gd name="connsiteY168" fmla="*/ 5730240 h 6815328"/>
                <a:gd name="connsiteX169" fmla="*/ 1694688 w 3243072"/>
                <a:gd name="connsiteY169" fmla="*/ 5583936 h 6815328"/>
                <a:gd name="connsiteX170" fmla="*/ 1584960 w 3243072"/>
                <a:gd name="connsiteY170" fmla="*/ 5559552 h 6815328"/>
                <a:gd name="connsiteX171" fmla="*/ 1597152 w 3243072"/>
                <a:gd name="connsiteY171" fmla="*/ 5388864 h 6815328"/>
                <a:gd name="connsiteX172" fmla="*/ 1694688 w 3243072"/>
                <a:gd name="connsiteY172" fmla="*/ 5327904 h 6815328"/>
                <a:gd name="connsiteX173" fmla="*/ 1694688 w 3243072"/>
                <a:gd name="connsiteY173" fmla="*/ 5327904 h 6815328"/>
                <a:gd name="connsiteX174" fmla="*/ 1914144 w 3243072"/>
                <a:gd name="connsiteY174" fmla="*/ 5340096 h 6815328"/>
                <a:gd name="connsiteX175" fmla="*/ 1840992 w 3243072"/>
                <a:gd name="connsiteY175" fmla="*/ 5193792 h 6815328"/>
                <a:gd name="connsiteX176" fmla="*/ 2036064 w 3243072"/>
                <a:gd name="connsiteY176" fmla="*/ 5181600 h 6815328"/>
                <a:gd name="connsiteX177" fmla="*/ 2084832 w 3243072"/>
                <a:gd name="connsiteY177" fmla="*/ 5157216 h 6815328"/>
                <a:gd name="connsiteX178" fmla="*/ 2279904 w 3243072"/>
                <a:gd name="connsiteY178" fmla="*/ 5047488 h 6815328"/>
                <a:gd name="connsiteX179" fmla="*/ 2353056 w 3243072"/>
                <a:gd name="connsiteY179" fmla="*/ 5047488 h 6815328"/>
                <a:gd name="connsiteX180" fmla="*/ 2365248 w 3243072"/>
                <a:gd name="connsiteY180" fmla="*/ 4888992 h 6815328"/>
                <a:gd name="connsiteX181" fmla="*/ 2340864 w 3243072"/>
                <a:gd name="connsiteY181" fmla="*/ 4754880 h 6815328"/>
                <a:gd name="connsiteX182" fmla="*/ 2353056 w 3243072"/>
                <a:gd name="connsiteY182" fmla="*/ 4645152 h 6815328"/>
                <a:gd name="connsiteX183" fmla="*/ 2401824 w 3243072"/>
                <a:gd name="connsiteY183" fmla="*/ 4523232 h 6815328"/>
                <a:gd name="connsiteX184" fmla="*/ 2328672 w 3243072"/>
                <a:gd name="connsiteY184" fmla="*/ 4376928 h 6815328"/>
                <a:gd name="connsiteX185" fmla="*/ 2279904 w 3243072"/>
                <a:gd name="connsiteY185" fmla="*/ 4218432 h 6815328"/>
                <a:gd name="connsiteX186" fmla="*/ 2304288 w 3243072"/>
                <a:gd name="connsiteY186" fmla="*/ 4072128 h 6815328"/>
                <a:gd name="connsiteX187" fmla="*/ 2304288 w 3243072"/>
                <a:gd name="connsiteY187" fmla="*/ 4072128 h 6815328"/>
                <a:gd name="connsiteX188" fmla="*/ 2353056 w 3243072"/>
                <a:gd name="connsiteY188" fmla="*/ 3913632 h 6815328"/>
                <a:gd name="connsiteX189" fmla="*/ 2340864 w 3243072"/>
                <a:gd name="connsiteY189" fmla="*/ 3803904 h 6815328"/>
                <a:gd name="connsiteX190" fmla="*/ 2414016 w 3243072"/>
                <a:gd name="connsiteY190" fmla="*/ 3730752 h 6815328"/>
                <a:gd name="connsiteX191" fmla="*/ 2377440 w 3243072"/>
                <a:gd name="connsiteY191" fmla="*/ 3694176 h 6815328"/>
                <a:gd name="connsiteX192" fmla="*/ 2353056 w 3243072"/>
                <a:gd name="connsiteY192" fmla="*/ 3621024 h 6815328"/>
                <a:gd name="connsiteX193" fmla="*/ 2292096 w 3243072"/>
                <a:gd name="connsiteY193" fmla="*/ 3621024 h 6815328"/>
                <a:gd name="connsiteX194" fmla="*/ 2218944 w 3243072"/>
                <a:gd name="connsiteY194" fmla="*/ 3560064 h 6815328"/>
                <a:gd name="connsiteX195" fmla="*/ 2157984 w 3243072"/>
                <a:gd name="connsiteY195" fmla="*/ 3499104 h 6815328"/>
                <a:gd name="connsiteX196" fmla="*/ 2157984 w 3243072"/>
                <a:gd name="connsiteY196" fmla="*/ 3499104 h 6815328"/>
                <a:gd name="connsiteX197" fmla="*/ 2292096 w 3243072"/>
                <a:gd name="connsiteY197" fmla="*/ 3364992 h 6815328"/>
                <a:gd name="connsiteX198" fmla="*/ 2182368 w 3243072"/>
                <a:gd name="connsiteY198" fmla="*/ 3304032 h 6815328"/>
                <a:gd name="connsiteX199" fmla="*/ 2182368 w 3243072"/>
                <a:gd name="connsiteY199" fmla="*/ 3304032 h 6815328"/>
                <a:gd name="connsiteX200" fmla="*/ 2121408 w 3243072"/>
                <a:gd name="connsiteY200" fmla="*/ 3279648 h 6815328"/>
                <a:gd name="connsiteX201" fmla="*/ 2036064 w 3243072"/>
                <a:gd name="connsiteY201" fmla="*/ 3145536 h 6815328"/>
                <a:gd name="connsiteX202" fmla="*/ 1987296 w 3243072"/>
                <a:gd name="connsiteY202" fmla="*/ 3218688 h 6815328"/>
                <a:gd name="connsiteX203" fmla="*/ 1950720 w 3243072"/>
                <a:gd name="connsiteY203" fmla="*/ 3096768 h 6815328"/>
                <a:gd name="connsiteX204" fmla="*/ 1877568 w 3243072"/>
                <a:gd name="connsiteY204" fmla="*/ 3023616 h 6815328"/>
                <a:gd name="connsiteX205" fmla="*/ 1901952 w 3243072"/>
                <a:gd name="connsiteY205" fmla="*/ 2913888 h 6815328"/>
                <a:gd name="connsiteX206" fmla="*/ 1816608 w 3243072"/>
                <a:gd name="connsiteY206" fmla="*/ 2852928 h 6815328"/>
                <a:gd name="connsiteX207" fmla="*/ 1804416 w 3243072"/>
                <a:gd name="connsiteY207" fmla="*/ 2779776 h 6815328"/>
                <a:gd name="connsiteX208" fmla="*/ 1560576 w 3243072"/>
                <a:gd name="connsiteY208" fmla="*/ 2621280 h 6815328"/>
                <a:gd name="connsiteX209" fmla="*/ 1463040 w 3243072"/>
                <a:gd name="connsiteY209" fmla="*/ 2499360 h 6815328"/>
                <a:gd name="connsiteX210" fmla="*/ 1511808 w 3243072"/>
                <a:gd name="connsiteY210" fmla="*/ 2474976 h 6815328"/>
                <a:gd name="connsiteX211" fmla="*/ 1438656 w 3243072"/>
                <a:gd name="connsiteY211" fmla="*/ 2365248 h 6815328"/>
                <a:gd name="connsiteX212" fmla="*/ 1438656 w 3243072"/>
                <a:gd name="connsiteY212" fmla="*/ 2365248 h 6815328"/>
                <a:gd name="connsiteX213" fmla="*/ 1267968 w 3243072"/>
                <a:gd name="connsiteY213" fmla="*/ 2231136 h 6815328"/>
                <a:gd name="connsiteX214" fmla="*/ 1316736 w 3243072"/>
                <a:gd name="connsiteY214" fmla="*/ 2157984 h 6815328"/>
                <a:gd name="connsiteX215" fmla="*/ 1231392 w 3243072"/>
                <a:gd name="connsiteY215" fmla="*/ 2133600 h 6815328"/>
                <a:gd name="connsiteX216" fmla="*/ 1158240 w 3243072"/>
                <a:gd name="connsiteY216" fmla="*/ 2109216 h 6815328"/>
                <a:gd name="connsiteX217" fmla="*/ 1072896 w 3243072"/>
                <a:gd name="connsiteY217" fmla="*/ 2084832 h 6815328"/>
                <a:gd name="connsiteX218" fmla="*/ 1011936 w 3243072"/>
                <a:gd name="connsiteY218" fmla="*/ 2072640 h 6815328"/>
                <a:gd name="connsiteX219" fmla="*/ 1024128 w 3243072"/>
                <a:gd name="connsiteY219" fmla="*/ 1987296 h 6815328"/>
                <a:gd name="connsiteX220" fmla="*/ 975360 w 3243072"/>
                <a:gd name="connsiteY220" fmla="*/ 1999488 h 6815328"/>
                <a:gd name="connsiteX221" fmla="*/ 902208 w 3243072"/>
                <a:gd name="connsiteY221" fmla="*/ 1962912 h 6815328"/>
                <a:gd name="connsiteX222" fmla="*/ 902208 w 3243072"/>
                <a:gd name="connsiteY222" fmla="*/ 1962912 h 6815328"/>
                <a:gd name="connsiteX223" fmla="*/ 841248 w 3243072"/>
                <a:gd name="connsiteY223" fmla="*/ 1926336 h 6815328"/>
                <a:gd name="connsiteX224" fmla="*/ 743712 w 3243072"/>
                <a:gd name="connsiteY224" fmla="*/ 1889760 h 6815328"/>
                <a:gd name="connsiteX225" fmla="*/ 743712 w 3243072"/>
                <a:gd name="connsiteY225" fmla="*/ 1804416 h 6815328"/>
                <a:gd name="connsiteX226" fmla="*/ 829056 w 3243072"/>
                <a:gd name="connsiteY226" fmla="*/ 1767840 h 6815328"/>
                <a:gd name="connsiteX227" fmla="*/ 792480 w 3243072"/>
                <a:gd name="connsiteY227" fmla="*/ 1682496 h 6815328"/>
                <a:gd name="connsiteX228" fmla="*/ 792480 w 3243072"/>
                <a:gd name="connsiteY228" fmla="*/ 1682496 h 6815328"/>
                <a:gd name="connsiteX229" fmla="*/ 914400 w 3243072"/>
                <a:gd name="connsiteY229" fmla="*/ 1670304 h 6815328"/>
                <a:gd name="connsiteX230" fmla="*/ 1011936 w 3243072"/>
                <a:gd name="connsiteY230" fmla="*/ 1682496 h 6815328"/>
                <a:gd name="connsiteX231" fmla="*/ 1024128 w 3243072"/>
                <a:gd name="connsiteY231" fmla="*/ 1645920 h 6815328"/>
                <a:gd name="connsiteX232" fmla="*/ 1060704 w 3243072"/>
                <a:gd name="connsiteY232" fmla="*/ 1719072 h 6815328"/>
                <a:gd name="connsiteX233" fmla="*/ 1194816 w 3243072"/>
                <a:gd name="connsiteY233" fmla="*/ 1609344 h 6815328"/>
                <a:gd name="connsiteX234" fmla="*/ 1158240 w 3243072"/>
                <a:gd name="connsiteY234" fmla="*/ 1597152 h 6815328"/>
                <a:gd name="connsiteX235" fmla="*/ 1182624 w 3243072"/>
                <a:gd name="connsiteY235" fmla="*/ 1511808 h 6815328"/>
                <a:gd name="connsiteX236" fmla="*/ 1182624 w 3243072"/>
                <a:gd name="connsiteY236" fmla="*/ 1511808 h 6815328"/>
                <a:gd name="connsiteX237" fmla="*/ 1072896 w 3243072"/>
                <a:gd name="connsiteY237" fmla="*/ 1450848 h 6815328"/>
                <a:gd name="connsiteX238" fmla="*/ 1072896 w 3243072"/>
                <a:gd name="connsiteY238" fmla="*/ 1353312 h 6815328"/>
                <a:gd name="connsiteX239" fmla="*/ 963168 w 3243072"/>
                <a:gd name="connsiteY239" fmla="*/ 1353312 h 6815328"/>
                <a:gd name="connsiteX240" fmla="*/ 963168 w 3243072"/>
                <a:gd name="connsiteY240" fmla="*/ 1353312 h 6815328"/>
                <a:gd name="connsiteX241" fmla="*/ 1048512 w 3243072"/>
                <a:gd name="connsiteY241" fmla="*/ 1243584 h 6815328"/>
                <a:gd name="connsiteX242" fmla="*/ 1024128 w 3243072"/>
                <a:gd name="connsiteY242" fmla="*/ 1182624 h 6815328"/>
                <a:gd name="connsiteX243" fmla="*/ 975360 w 3243072"/>
                <a:gd name="connsiteY243" fmla="*/ 1182624 h 6815328"/>
                <a:gd name="connsiteX244" fmla="*/ 890016 w 3243072"/>
                <a:gd name="connsiteY244" fmla="*/ 1121664 h 6815328"/>
                <a:gd name="connsiteX245" fmla="*/ 816864 w 3243072"/>
                <a:gd name="connsiteY245" fmla="*/ 1121664 h 6815328"/>
                <a:gd name="connsiteX246" fmla="*/ 719328 w 3243072"/>
                <a:gd name="connsiteY246" fmla="*/ 1158240 h 6815328"/>
                <a:gd name="connsiteX247" fmla="*/ 694944 w 3243072"/>
                <a:gd name="connsiteY247" fmla="*/ 1255776 h 6815328"/>
                <a:gd name="connsiteX248" fmla="*/ 609600 w 3243072"/>
                <a:gd name="connsiteY248" fmla="*/ 1182624 h 6815328"/>
                <a:gd name="connsiteX249" fmla="*/ 560832 w 3243072"/>
                <a:gd name="connsiteY249" fmla="*/ 1207008 h 6815328"/>
                <a:gd name="connsiteX250" fmla="*/ 463296 w 3243072"/>
                <a:gd name="connsiteY250" fmla="*/ 1158240 h 6815328"/>
                <a:gd name="connsiteX251" fmla="*/ 463296 w 3243072"/>
                <a:gd name="connsiteY251" fmla="*/ 1158240 h 6815328"/>
                <a:gd name="connsiteX252" fmla="*/ 390144 w 3243072"/>
                <a:gd name="connsiteY252" fmla="*/ 1085088 h 6815328"/>
                <a:gd name="connsiteX253" fmla="*/ 390144 w 3243072"/>
                <a:gd name="connsiteY253" fmla="*/ 1085088 h 6815328"/>
                <a:gd name="connsiteX254" fmla="*/ 304800 w 3243072"/>
                <a:gd name="connsiteY254" fmla="*/ 975360 h 6815328"/>
                <a:gd name="connsiteX255" fmla="*/ 341376 w 3243072"/>
                <a:gd name="connsiteY255" fmla="*/ 914400 h 6815328"/>
                <a:gd name="connsiteX256" fmla="*/ 329184 w 3243072"/>
                <a:gd name="connsiteY256" fmla="*/ 865632 h 6815328"/>
                <a:gd name="connsiteX257" fmla="*/ 365760 w 3243072"/>
                <a:gd name="connsiteY257" fmla="*/ 816864 h 6815328"/>
                <a:gd name="connsiteX258" fmla="*/ 365760 w 3243072"/>
                <a:gd name="connsiteY258" fmla="*/ 731520 h 6815328"/>
                <a:gd name="connsiteX259" fmla="*/ 280416 w 3243072"/>
                <a:gd name="connsiteY259" fmla="*/ 804672 h 6815328"/>
                <a:gd name="connsiteX260" fmla="*/ 207264 w 3243072"/>
                <a:gd name="connsiteY260" fmla="*/ 682752 h 6815328"/>
                <a:gd name="connsiteX261" fmla="*/ 158496 w 3243072"/>
                <a:gd name="connsiteY261" fmla="*/ 597408 h 6815328"/>
                <a:gd name="connsiteX262" fmla="*/ 109728 w 3243072"/>
                <a:gd name="connsiteY262" fmla="*/ 524256 h 6815328"/>
                <a:gd name="connsiteX263" fmla="*/ 48768 w 3243072"/>
                <a:gd name="connsiteY263" fmla="*/ 524256 h 6815328"/>
                <a:gd name="connsiteX264" fmla="*/ 0 w 3243072"/>
                <a:gd name="connsiteY264"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46048 w 3243072"/>
                <a:gd name="connsiteY20" fmla="*/ 243840 h 6815328"/>
                <a:gd name="connsiteX21" fmla="*/ 1146048 w 3243072"/>
                <a:gd name="connsiteY21" fmla="*/ 243840 h 6815328"/>
                <a:gd name="connsiteX22" fmla="*/ 1158240 w 3243072"/>
                <a:gd name="connsiteY22" fmla="*/ 134112 h 6815328"/>
                <a:gd name="connsiteX23" fmla="*/ 1231392 w 3243072"/>
                <a:gd name="connsiteY23" fmla="*/ 60960 h 6815328"/>
                <a:gd name="connsiteX24" fmla="*/ 1341120 w 3243072"/>
                <a:gd name="connsiteY24" fmla="*/ 36576 h 6815328"/>
                <a:gd name="connsiteX25" fmla="*/ 1377696 w 3243072"/>
                <a:gd name="connsiteY25" fmla="*/ 0 h 6815328"/>
                <a:gd name="connsiteX26" fmla="*/ 1511808 w 3243072"/>
                <a:gd name="connsiteY26" fmla="*/ 121920 h 6815328"/>
                <a:gd name="connsiteX27" fmla="*/ 1511808 w 3243072"/>
                <a:gd name="connsiteY27" fmla="*/ 121920 h 6815328"/>
                <a:gd name="connsiteX28" fmla="*/ 1633728 w 3243072"/>
                <a:gd name="connsiteY28" fmla="*/ 195072 h 6815328"/>
                <a:gd name="connsiteX29" fmla="*/ 1682496 w 3243072"/>
                <a:gd name="connsiteY29" fmla="*/ 158496 h 6815328"/>
                <a:gd name="connsiteX30" fmla="*/ 1755648 w 3243072"/>
                <a:gd name="connsiteY30" fmla="*/ 158496 h 6815328"/>
                <a:gd name="connsiteX31" fmla="*/ 1816608 w 3243072"/>
                <a:gd name="connsiteY31" fmla="*/ 207264 h 6815328"/>
                <a:gd name="connsiteX32" fmla="*/ 1889760 w 3243072"/>
                <a:gd name="connsiteY32" fmla="*/ 195072 h 6815328"/>
                <a:gd name="connsiteX33" fmla="*/ 1975104 w 3243072"/>
                <a:gd name="connsiteY33" fmla="*/ 256032 h 6815328"/>
                <a:gd name="connsiteX34" fmla="*/ 2036064 w 3243072"/>
                <a:gd name="connsiteY34" fmla="*/ 256032 h 6815328"/>
                <a:gd name="connsiteX35" fmla="*/ 1999488 w 3243072"/>
                <a:gd name="connsiteY35" fmla="*/ 365760 h 6815328"/>
                <a:gd name="connsiteX36" fmla="*/ 1938528 w 3243072"/>
                <a:gd name="connsiteY36" fmla="*/ 377952 h 6815328"/>
                <a:gd name="connsiteX37" fmla="*/ 1962912 w 3243072"/>
                <a:gd name="connsiteY37" fmla="*/ 487680 h 6815328"/>
                <a:gd name="connsiteX38" fmla="*/ 1999488 w 3243072"/>
                <a:gd name="connsiteY38" fmla="*/ 499872 h 6815328"/>
                <a:gd name="connsiteX39" fmla="*/ 1975104 w 3243072"/>
                <a:gd name="connsiteY39" fmla="*/ 609600 h 6815328"/>
                <a:gd name="connsiteX40" fmla="*/ 2023872 w 3243072"/>
                <a:gd name="connsiteY40" fmla="*/ 633984 h 6815328"/>
                <a:gd name="connsiteX41" fmla="*/ 2072640 w 3243072"/>
                <a:gd name="connsiteY41" fmla="*/ 621792 h 6815328"/>
                <a:gd name="connsiteX42" fmla="*/ 2121408 w 3243072"/>
                <a:gd name="connsiteY42" fmla="*/ 633984 h 6815328"/>
                <a:gd name="connsiteX43" fmla="*/ 2145792 w 3243072"/>
                <a:gd name="connsiteY43" fmla="*/ 719328 h 6815328"/>
                <a:gd name="connsiteX44" fmla="*/ 2145792 w 3243072"/>
                <a:gd name="connsiteY44" fmla="*/ 719328 h 6815328"/>
                <a:gd name="connsiteX45" fmla="*/ 2304288 w 3243072"/>
                <a:gd name="connsiteY45" fmla="*/ 743712 h 6815328"/>
                <a:gd name="connsiteX46" fmla="*/ 2328672 w 3243072"/>
                <a:gd name="connsiteY46" fmla="*/ 780288 h 6815328"/>
                <a:gd name="connsiteX47" fmla="*/ 2401824 w 3243072"/>
                <a:gd name="connsiteY47" fmla="*/ 768096 h 6815328"/>
                <a:gd name="connsiteX48" fmla="*/ 2438400 w 3243072"/>
                <a:gd name="connsiteY48" fmla="*/ 768096 h 6815328"/>
                <a:gd name="connsiteX49" fmla="*/ 2535936 w 3243072"/>
                <a:gd name="connsiteY49" fmla="*/ 829056 h 6815328"/>
                <a:gd name="connsiteX50" fmla="*/ 2523744 w 3243072"/>
                <a:gd name="connsiteY50" fmla="*/ 877824 h 6815328"/>
                <a:gd name="connsiteX51" fmla="*/ 2487168 w 3243072"/>
                <a:gd name="connsiteY51" fmla="*/ 877824 h 6815328"/>
                <a:gd name="connsiteX52" fmla="*/ 2426208 w 3243072"/>
                <a:gd name="connsiteY52" fmla="*/ 914400 h 6815328"/>
                <a:gd name="connsiteX53" fmla="*/ 2353056 w 3243072"/>
                <a:gd name="connsiteY53" fmla="*/ 963168 h 6815328"/>
                <a:gd name="connsiteX54" fmla="*/ 2316480 w 3243072"/>
                <a:gd name="connsiteY54" fmla="*/ 1036320 h 6815328"/>
                <a:gd name="connsiteX55" fmla="*/ 2255520 w 3243072"/>
                <a:gd name="connsiteY55" fmla="*/ 1097280 h 6815328"/>
                <a:gd name="connsiteX56" fmla="*/ 2255520 w 3243072"/>
                <a:gd name="connsiteY56" fmla="*/ 1097280 h 6815328"/>
                <a:gd name="connsiteX57" fmla="*/ 2097024 w 3243072"/>
                <a:gd name="connsiteY57" fmla="*/ 1121664 h 6815328"/>
                <a:gd name="connsiteX58" fmla="*/ 2011680 w 3243072"/>
                <a:gd name="connsiteY58" fmla="*/ 1158240 h 6815328"/>
                <a:gd name="connsiteX59" fmla="*/ 1999488 w 3243072"/>
                <a:gd name="connsiteY59" fmla="*/ 1219200 h 6815328"/>
                <a:gd name="connsiteX60" fmla="*/ 1975104 w 3243072"/>
                <a:gd name="connsiteY60" fmla="*/ 1280160 h 6815328"/>
                <a:gd name="connsiteX61" fmla="*/ 1938528 w 3243072"/>
                <a:gd name="connsiteY61" fmla="*/ 1389888 h 6815328"/>
                <a:gd name="connsiteX62" fmla="*/ 1901952 w 3243072"/>
                <a:gd name="connsiteY62" fmla="*/ 1426464 h 6815328"/>
                <a:gd name="connsiteX63" fmla="*/ 1853184 w 3243072"/>
                <a:gd name="connsiteY63" fmla="*/ 1499616 h 6815328"/>
                <a:gd name="connsiteX64" fmla="*/ 1853184 w 3243072"/>
                <a:gd name="connsiteY64" fmla="*/ 1499616 h 6815328"/>
                <a:gd name="connsiteX65" fmla="*/ 1792224 w 3243072"/>
                <a:gd name="connsiteY65" fmla="*/ 1487424 h 6815328"/>
                <a:gd name="connsiteX66" fmla="*/ 1743456 w 3243072"/>
                <a:gd name="connsiteY66" fmla="*/ 1572768 h 6815328"/>
                <a:gd name="connsiteX67" fmla="*/ 1670304 w 3243072"/>
                <a:gd name="connsiteY67" fmla="*/ 1560576 h 6815328"/>
                <a:gd name="connsiteX68" fmla="*/ 1633728 w 3243072"/>
                <a:gd name="connsiteY68" fmla="*/ 1706880 h 6815328"/>
                <a:gd name="connsiteX69" fmla="*/ 1584960 w 3243072"/>
                <a:gd name="connsiteY69" fmla="*/ 1780032 h 6815328"/>
                <a:gd name="connsiteX70" fmla="*/ 1609344 w 3243072"/>
                <a:gd name="connsiteY70" fmla="*/ 1865376 h 6815328"/>
                <a:gd name="connsiteX71" fmla="*/ 1584960 w 3243072"/>
                <a:gd name="connsiteY71" fmla="*/ 1926336 h 6815328"/>
                <a:gd name="connsiteX72" fmla="*/ 1572768 w 3243072"/>
                <a:gd name="connsiteY72" fmla="*/ 1987296 h 6815328"/>
                <a:gd name="connsiteX73" fmla="*/ 1524000 w 3243072"/>
                <a:gd name="connsiteY73" fmla="*/ 1999488 h 6815328"/>
                <a:gd name="connsiteX74" fmla="*/ 1560576 w 3243072"/>
                <a:gd name="connsiteY74" fmla="*/ 2097024 h 6815328"/>
                <a:gd name="connsiteX75" fmla="*/ 1645920 w 3243072"/>
                <a:gd name="connsiteY75" fmla="*/ 2231136 h 6815328"/>
                <a:gd name="connsiteX76" fmla="*/ 1645920 w 3243072"/>
                <a:gd name="connsiteY76" fmla="*/ 2231136 h 6815328"/>
                <a:gd name="connsiteX77" fmla="*/ 1767840 w 3243072"/>
                <a:gd name="connsiteY77" fmla="*/ 2328672 h 6815328"/>
                <a:gd name="connsiteX78" fmla="*/ 1816608 w 3243072"/>
                <a:gd name="connsiteY78" fmla="*/ 2414016 h 6815328"/>
                <a:gd name="connsiteX79" fmla="*/ 1865376 w 3243072"/>
                <a:gd name="connsiteY79" fmla="*/ 2377440 h 6815328"/>
                <a:gd name="connsiteX80" fmla="*/ 1926336 w 3243072"/>
                <a:gd name="connsiteY80" fmla="*/ 2462784 h 6815328"/>
                <a:gd name="connsiteX81" fmla="*/ 1901952 w 3243072"/>
                <a:gd name="connsiteY81" fmla="*/ 2535936 h 6815328"/>
                <a:gd name="connsiteX82" fmla="*/ 2036064 w 3243072"/>
                <a:gd name="connsiteY82" fmla="*/ 2779776 h 6815328"/>
                <a:gd name="connsiteX83" fmla="*/ 2157984 w 3243072"/>
                <a:gd name="connsiteY83" fmla="*/ 2877312 h 6815328"/>
                <a:gd name="connsiteX84" fmla="*/ 2279904 w 3243072"/>
                <a:gd name="connsiteY84" fmla="*/ 3023616 h 6815328"/>
                <a:gd name="connsiteX85" fmla="*/ 2328672 w 3243072"/>
                <a:gd name="connsiteY85" fmla="*/ 3096768 h 6815328"/>
                <a:gd name="connsiteX86" fmla="*/ 2487168 w 3243072"/>
                <a:gd name="connsiteY86" fmla="*/ 3169920 h 6815328"/>
                <a:gd name="connsiteX87" fmla="*/ 2511552 w 3243072"/>
                <a:gd name="connsiteY87" fmla="*/ 3267456 h 6815328"/>
                <a:gd name="connsiteX88" fmla="*/ 2511552 w 3243072"/>
                <a:gd name="connsiteY88" fmla="*/ 3267456 h 6815328"/>
                <a:gd name="connsiteX89" fmla="*/ 2596896 w 3243072"/>
                <a:gd name="connsiteY89" fmla="*/ 3206496 h 6815328"/>
                <a:gd name="connsiteX90" fmla="*/ 2609088 w 3243072"/>
                <a:gd name="connsiteY90" fmla="*/ 3279648 h 6815328"/>
                <a:gd name="connsiteX91" fmla="*/ 2657856 w 3243072"/>
                <a:gd name="connsiteY91" fmla="*/ 3279648 h 6815328"/>
                <a:gd name="connsiteX92" fmla="*/ 2645664 w 3243072"/>
                <a:gd name="connsiteY92" fmla="*/ 3328416 h 6815328"/>
                <a:gd name="connsiteX93" fmla="*/ 2779776 w 3243072"/>
                <a:gd name="connsiteY93" fmla="*/ 3425952 h 6815328"/>
                <a:gd name="connsiteX94" fmla="*/ 2816352 w 3243072"/>
                <a:gd name="connsiteY94" fmla="*/ 3547872 h 6815328"/>
                <a:gd name="connsiteX95" fmla="*/ 2877312 w 3243072"/>
                <a:gd name="connsiteY95" fmla="*/ 3621024 h 6815328"/>
                <a:gd name="connsiteX96" fmla="*/ 2926080 w 3243072"/>
                <a:gd name="connsiteY96" fmla="*/ 3645408 h 6815328"/>
                <a:gd name="connsiteX97" fmla="*/ 2926080 w 3243072"/>
                <a:gd name="connsiteY97" fmla="*/ 3645408 h 6815328"/>
                <a:gd name="connsiteX98" fmla="*/ 2987040 w 3243072"/>
                <a:gd name="connsiteY98" fmla="*/ 3767328 h 6815328"/>
                <a:gd name="connsiteX99" fmla="*/ 3011424 w 3243072"/>
                <a:gd name="connsiteY99" fmla="*/ 3864864 h 6815328"/>
                <a:gd name="connsiteX100" fmla="*/ 3060192 w 3243072"/>
                <a:gd name="connsiteY100" fmla="*/ 4011168 h 6815328"/>
                <a:gd name="connsiteX101" fmla="*/ 3096768 w 3243072"/>
                <a:gd name="connsiteY101" fmla="*/ 4157472 h 6815328"/>
                <a:gd name="connsiteX102" fmla="*/ 3133344 w 3243072"/>
                <a:gd name="connsiteY102" fmla="*/ 4291584 h 6815328"/>
                <a:gd name="connsiteX103" fmla="*/ 3169920 w 3243072"/>
                <a:gd name="connsiteY103" fmla="*/ 4389120 h 6815328"/>
                <a:gd name="connsiteX104" fmla="*/ 3133344 w 3243072"/>
                <a:gd name="connsiteY104" fmla="*/ 4437888 h 6815328"/>
                <a:gd name="connsiteX105" fmla="*/ 3133344 w 3243072"/>
                <a:gd name="connsiteY105" fmla="*/ 4498848 h 6815328"/>
                <a:gd name="connsiteX106" fmla="*/ 3133344 w 3243072"/>
                <a:gd name="connsiteY106" fmla="*/ 4498848 h 6815328"/>
                <a:gd name="connsiteX107" fmla="*/ 3133344 w 3243072"/>
                <a:gd name="connsiteY107" fmla="*/ 4498848 h 6815328"/>
                <a:gd name="connsiteX108" fmla="*/ 3169920 w 3243072"/>
                <a:gd name="connsiteY108" fmla="*/ 4608576 h 6815328"/>
                <a:gd name="connsiteX109" fmla="*/ 3194304 w 3243072"/>
                <a:gd name="connsiteY109" fmla="*/ 4706112 h 6815328"/>
                <a:gd name="connsiteX110" fmla="*/ 3243072 w 3243072"/>
                <a:gd name="connsiteY110" fmla="*/ 4779264 h 6815328"/>
                <a:gd name="connsiteX111" fmla="*/ 3194304 w 3243072"/>
                <a:gd name="connsiteY111" fmla="*/ 4852416 h 6815328"/>
                <a:gd name="connsiteX112" fmla="*/ 3194304 w 3243072"/>
                <a:gd name="connsiteY112" fmla="*/ 4852416 h 6815328"/>
                <a:gd name="connsiteX113" fmla="*/ 3169920 w 3243072"/>
                <a:gd name="connsiteY113" fmla="*/ 4986528 h 6815328"/>
                <a:gd name="connsiteX114" fmla="*/ 3169920 w 3243072"/>
                <a:gd name="connsiteY114" fmla="*/ 5047488 h 6815328"/>
                <a:gd name="connsiteX115" fmla="*/ 3145536 w 3243072"/>
                <a:gd name="connsiteY115" fmla="*/ 5047488 h 6815328"/>
                <a:gd name="connsiteX116" fmla="*/ 3182112 w 3243072"/>
                <a:gd name="connsiteY116" fmla="*/ 5132832 h 6815328"/>
                <a:gd name="connsiteX117" fmla="*/ 3133344 w 3243072"/>
                <a:gd name="connsiteY117" fmla="*/ 5157216 h 6815328"/>
                <a:gd name="connsiteX118" fmla="*/ 3133344 w 3243072"/>
                <a:gd name="connsiteY118" fmla="*/ 5157216 h 6815328"/>
                <a:gd name="connsiteX119" fmla="*/ 3133344 w 3243072"/>
                <a:gd name="connsiteY119" fmla="*/ 5327904 h 6815328"/>
                <a:gd name="connsiteX120" fmla="*/ 3096768 w 3243072"/>
                <a:gd name="connsiteY120" fmla="*/ 5437632 h 6815328"/>
                <a:gd name="connsiteX121" fmla="*/ 3048000 w 3243072"/>
                <a:gd name="connsiteY121" fmla="*/ 5437632 h 6815328"/>
                <a:gd name="connsiteX122" fmla="*/ 3048000 w 3243072"/>
                <a:gd name="connsiteY122" fmla="*/ 5437632 h 6815328"/>
                <a:gd name="connsiteX123" fmla="*/ 2926080 w 3243072"/>
                <a:gd name="connsiteY123" fmla="*/ 5535168 h 6815328"/>
                <a:gd name="connsiteX124" fmla="*/ 2889504 w 3243072"/>
                <a:gd name="connsiteY124" fmla="*/ 5608320 h 6815328"/>
                <a:gd name="connsiteX125" fmla="*/ 2816352 w 3243072"/>
                <a:gd name="connsiteY125" fmla="*/ 5620512 h 6815328"/>
                <a:gd name="connsiteX126" fmla="*/ 2791968 w 3243072"/>
                <a:gd name="connsiteY126" fmla="*/ 5657088 h 6815328"/>
                <a:gd name="connsiteX127" fmla="*/ 2694432 w 3243072"/>
                <a:gd name="connsiteY127" fmla="*/ 5669280 h 6815328"/>
                <a:gd name="connsiteX128" fmla="*/ 2682240 w 3243072"/>
                <a:gd name="connsiteY128" fmla="*/ 5718048 h 6815328"/>
                <a:gd name="connsiteX129" fmla="*/ 2633472 w 3243072"/>
                <a:gd name="connsiteY129" fmla="*/ 5766816 h 6815328"/>
                <a:gd name="connsiteX130" fmla="*/ 2633472 w 3243072"/>
                <a:gd name="connsiteY130" fmla="*/ 5766816 h 6815328"/>
                <a:gd name="connsiteX131" fmla="*/ 2438400 w 3243072"/>
                <a:gd name="connsiteY131" fmla="*/ 5815584 h 6815328"/>
                <a:gd name="connsiteX132" fmla="*/ 2316480 w 3243072"/>
                <a:gd name="connsiteY132" fmla="*/ 5925312 h 6815328"/>
                <a:gd name="connsiteX133" fmla="*/ 2231136 w 3243072"/>
                <a:gd name="connsiteY133" fmla="*/ 5998464 h 6815328"/>
                <a:gd name="connsiteX134" fmla="*/ 2072640 w 3243072"/>
                <a:gd name="connsiteY134" fmla="*/ 5974080 h 6815328"/>
                <a:gd name="connsiteX135" fmla="*/ 2023872 w 3243072"/>
                <a:gd name="connsiteY135" fmla="*/ 6035040 h 6815328"/>
                <a:gd name="connsiteX136" fmla="*/ 2048256 w 3243072"/>
                <a:gd name="connsiteY136" fmla="*/ 6083808 h 6815328"/>
                <a:gd name="connsiteX137" fmla="*/ 1999488 w 3243072"/>
                <a:gd name="connsiteY137" fmla="*/ 6132576 h 6815328"/>
                <a:gd name="connsiteX138" fmla="*/ 1987296 w 3243072"/>
                <a:gd name="connsiteY138" fmla="*/ 6230112 h 6815328"/>
                <a:gd name="connsiteX139" fmla="*/ 1950720 w 3243072"/>
                <a:gd name="connsiteY139" fmla="*/ 6266688 h 6815328"/>
                <a:gd name="connsiteX140" fmla="*/ 1938528 w 3243072"/>
                <a:gd name="connsiteY140" fmla="*/ 6339840 h 6815328"/>
                <a:gd name="connsiteX141" fmla="*/ 1865376 w 3243072"/>
                <a:gd name="connsiteY141" fmla="*/ 6364224 h 6815328"/>
                <a:gd name="connsiteX142" fmla="*/ 1792224 w 3243072"/>
                <a:gd name="connsiteY142" fmla="*/ 6364224 h 6815328"/>
                <a:gd name="connsiteX143" fmla="*/ 1792224 w 3243072"/>
                <a:gd name="connsiteY143" fmla="*/ 6364224 h 6815328"/>
                <a:gd name="connsiteX144" fmla="*/ 1767840 w 3243072"/>
                <a:gd name="connsiteY144" fmla="*/ 6449568 h 6815328"/>
                <a:gd name="connsiteX145" fmla="*/ 1463040 w 3243072"/>
                <a:gd name="connsiteY145" fmla="*/ 6522720 h 6815328"/>
                <a:gd name="connsiteX146" fmla="*/ 1353312 w 3243072"/>
                <a:gd name="connsiteY146" fmla="*/ 6693408 h 6815328"/>
                <a:gd name="connsiteX147" fmla="*/ 1280160 w 3243072"/>
                <a:gd name="connsiteY147" fmla="*/ 6754368 h 6815328"/>
                <a:gd name="connsiteX148" fmla="*/ 1182624 w 3243072"/>
                <a:gd name="connsiteY148" fmla="*/ 6815328 h 6815328"/>
                <a:gd name="connsiteX149" fmla="*/ 1097280 w 3243072"/>
                <a:gd name="connsiteY149" fmla="*/ 6754368 h 6815328"/>
                <a:gd name="connsiteX150" fmla="*/ 1146048 w 3243072"/>
                <a:gd name="connsiteY150" fmla="*/ 6729984 h 6815328"/>
                <a:gd name="connsiteX151" fmla="*/ 1146048 w 3243072"/>
                <a:gd name="connsiteY151" fmla="*/ 6729984 h 6815328"/>
                <a:gd name="connsiteX152" fmla="*/ 1133856 w 3243072"/>
                <a:gd name="connsiteY152" fmla="*/ 6266688 h 6815328"/>
                <a:gd name="connsiteX153" fmla="*/ 1133856 w 3243072"/>
                <a:gd name="connsiteY153" fmla="*/ 6266688 h 6815328"/>
                <a:gd name="connsiteX154" fmla="*/ 1243584 w 3243072"/>
                <a:gd name="connsiteY154" fmla="*/ 6169152 h 6815328"/>
                <a:gd name="connsiteX155" fmla="*/ 1182624 w 3243072"/>
                <a:gd name="connsiteY155" fmla="*/ 6083808 h 6815328"/>
                <a:gd name="connsiteX156" fmla="*/ 1121664 w 3243072"/>
                <a:gd name="connsiteY156" fmla="*/ 6059424 h 6815328"/>
                <a:gd name="connsiteX157" fmla="*/ 999744 w 3243072"/>
                <a:gd name="connsiteY157" fmla="*/ 6059424 h 6815328"/>
                <a:gd name="connsiteX158" fmla="*/ 938784 w 3243072"/>
                <a:gd name="connsiteY158" fmla="*/ 5949696 h 6815328"/>
                <a:gd name="connsiteX159" fmla="*/ 1072896 w 3243072"/>
                <a:gd name="connsiteY159" fmla="*/ 5864352 h 6815328"/>
                <a:gd name="connsiteX160" fmla="*/ 1182624 w 3243072"/>
                <a:gd name="connsiteY160" fmla="*/ 5864352 h 6815328"/>
                <a:gd name="connsiteX161" fmla="*/ 1255776 w 3243072"/>
                <a:gd name="connsiteY161" fmla="*/ 5839968 h 6815328"/>
                <a:gd name="connsiteX162" fmla="*/ 1194816 w 3243072"/>
                <a:gd name="connsiteY162" fmla="*/ 5693664 h 6815328"/>
                <a:gd name="connsiteX163" fmla="*/ 1365504 w 3243072"/>
                <a:gd name="connsiteY163" fmla="*/ 5730240 h 6815328"/>
                <a:gd name="connsiteX164" fmla="*/ 1536192 w 3243072"/>
                <a:gd name="connsiteY164" fmla="*/ 5620512 h 6815328"/>
                <a:gd name="connsiteX165" fmla="*/ 1633728 w 3243072"/>
                <a:gd name="connsiteY165" fmla="*/ 5657088 h 6815328"/>
                <a:gd name="connsiteX166" fmla="*/ 1633728 w 3243072"/>
                <a:gd name="connsiteY166" fmla="*/ 5657088 h 6815328"/>
                <a:gd name="connsiteX167" fmla="*/ 1719072 w 3243072"/>
                <a:gd name="connsiteY167" fmla="*/ 5730240 h 6815328"/>
                <a:gd name="connsiteX168" fmla="*/ 1719072 w 3243072"/>
                <a:gd name="connsiteY168" fmla="*/ 5730240 h 6815328"/>
                <a:gd name="connsiteX169" fmla="*/ 1694688 w 3243072"/>
                <a:gd name="connsiteY169" fmla="*/ 5583936 h 6815328"/>
                <a:gd name="connsiteX170" fmla="*/ 1584960 w 3243072"/>
                <a:gd name="connsiteY170" fmla="*/ 5559552 h 6815328"/>
                <a:gd name="connsiteX171" fmla="*/ 1597152 w 3243072"/>
                <a:gd name="connsiteY171" fmla="*/ 5388864 h 6815328"/>
                <a:gd name="connsiteX172" fmla="*/ 1694688 w 3243072"/>
                <a:gd name="connsiteY172" fmla="*/ 5327904 h 6815328"/>
                <a:gd name="connsiteX173" fmla="*/ 1694688 w 3243072"/>
                <a:gd name="connsiteY173" fmla="*/ 5327904 h 6815328"/>
                <a:gd name="connsiteX174" fmla="*/ 1914144 w 3243072"/>
                <a:gd name="connsiteY174" fmla="*/ 5340096 h 6815328"/>
                <a:gd name="connsiteX175" fmla="*/ 1840992 w 3243072"/>
                <a:gd name="connsiteY175" fmla="*/ 5193792 h 6815328"/>
                <a:gd name="connsiteX176" fmla="*/ 2036064 w 3243072"/>
                <a:gd name="connsiteY176" fmla="*/ 5181600 h 6815328"/>
                <a:gd name="connsiteX177" fmla="*/ 2084832 w 3243072"/>
                <a:gd name="connsiteY177" fmla="*/ 5157216 h 6815328"/>
                <a:gd name="connsiteX178" fmla="*/ 2279904 w 3243072"/>
                <a:gd name="connsiteY178" fmla="*/ 5047488 h 6815328"/>
                <a:gd name="connsiteX179" fmla="*/ 2353056 w 3243072"/>
                <a:gd name="connsiteY179" fmla="*/ 5047488 h 6815328"/>
                <a:gd name="connsiteX180" fmla="*/ 2365248 w 3243072"/>
                <a:gd name="connsiteY180" fmla="*/ 4888992 h 6815328"/>
                <a:gd name="connsiteX181" fmla="*/ 2340864 w 3243072"/>
                <a:gd name="connsiteY181" fmla="*/ 4754880 h 6815328"/>
                <a:gd name="connsiteX182" fmla="*/ 2353056 w 3243072"/>
                <a:gd name="connsiteY182" fmla="*/ 4645152 h 6815328"/>
                <a:gd name="connsiteX183" fmla="*/ 2401824 w 3243072"/>
                <a:gd name="connsiteY183" fmla="*/ 4523232 h 6815328"/>
                <a:gd name="connsiteX184" fmla="*/ 2328672 w 3243072"/>
                <a:gd name="connsiteY184" fmla="*/ 4376928 h 6815328"/>
                <a:gd name="connsiteX185" fmla="*/ 2279904 w 3243072"/>
                <a:gd name="connsiteY185" fmla="*/ 4218432 h 6815328"/>
                <a:gd name="connsiteX186" fmla="*/ 2304288 w 3243072"/>
                <a:gd name="connsiteY186" fmla="*/ 4072128 h 6815328"/>
                <a:gd name="connsiteX187" fmla="*/ 2304288 w 3243072"/>
                <a:gd name="connsiteY187" fmla="*/ 4072128 h 6815328"/>
                <a:gd name="connsiteX188" fmla="*/ 2353056 w 3243072"/>
                <a:gd name="connsiteY188" fmla="*/ 3913632 h 6815328"/>
                <a:gd name="connsiteX189" fmla="*/ 2340864 w 3243072"/>
                <a:gd name="connsiteY189" fmla="*/ 3803904 h 6815328"/>
                <a:gd name="connsiteX190" fmla="*/ 2414016 w 3243072"/>
                <a:gd name="connsiteY190" fmla="*/ 3730752 h 6815328"/>
                <a:gd name="connsiteX191" fmla="*/ 2377440 w 3243072"/>
                <a:gd name="connsiteY191" fmla="*/ 3694176 h 6815328"/>
                <a:gd name="connsiteX192" fmla="*/ 2353056 w 3243072"/>
                <a:gd name="connsiteY192" fmla="*/ 3621024 h 6815328"/>
                <a:gd name="connsiteX193" fmla="*/ 2292096 w 3243072"/>
                <a:gd name="connsiteY193" fmla="*/ 3621024 h 6815328"/>
                <a:gd name="connsiteX194" fmla="*/ 2218944 w 3243072"/>
                <a:gd name="connsiteY194" fmla="*/ 3560064 h 6815328"/>
                <a:gd name="connsiteX195" fmla="*/ 2157984 w 3243072"/>
                <a:gd name="connsiteY195" fmla="*/ 3499104 h 6815328"/>
                <a:gd name="connsiteX196" fmla="*/ 2157984 w 3243072"/>
                <a:gd name="connsiteY196" fmla="*/ 3499104 h 6815328"/>
                <a:gd name="connsiteX197" fmla="*/ 2292096 w 3243072"/>
                <a:gd name="connsiteY197" fmla="*/ 3364992 h 6815328"/>
                <a:gd name="connsiteX198" fmla="*/ 2182368 w 3243072"/>
                <a:gd name="connsiteY198" fmla="*/ 3304032 h 6815328"/>
                <a:gd name="connsiteX199" fmla="*/ 2182368 w 3243072"/>
                <a:gd name="connsiteY199" fmla="*/ 3304032 h 6815328"/>
                <a:gd name="connsiteX200" fmla="*/ 2121408 w 3243072"/>
                <a:gd name="connsiteY200" fmla="*/ 3279648 h 6815328"/>
                <a:gd name="connsiteX201" fmla="*/ 2036064 w 3243072"/>
                <a:gd name="connsiteY201" fmla="*/ 3145536 h 6815328"/>
                <a:gd name="connsiteX202" fmla="*/ 1987296 w 3243072"/>
                <a:gd name="connsiteY202" fmla="*/ 3218688 h 6815328"/>
                <a:gd name="connsiteX203" fmla="*/ 1950720 w 3243072"/>
                <a:gd name="connsiteY203" fmla="*/ 3096768 h 6815328"/>
                <a:gd name="connsiteX204" fmla="*/ 1877568 w 3243072"/>
                <a:gd name="connsiteY204" fmla="*/ 3023616 h 6815328"/>
                <a:gd name="connsiteX205" fmla="*/ 1901952 w 3243072"/>
                <a:gd name="connsiteY205" fmla="*/ 2913888 h 6815328"/>
                <a:gd name="connsiteX206" fmla="*/ 1816608 w 3243072"/>
                <a:gd name="connsiteY206" fmla="*/ 2852928 h 6815328"/>
                <a:gd name="connsiteX207" fmla="*/ 1804416 w 3243072"/>
                <a:gd name="connsiteY207" fmla="*/ 2779776 h 6815328"/>
                <a:gd name="connsiteX208" fmla="*/ 1560576 w 3243072"/>
                <a:gd name="connsiteY208" fmla="*/ 2621280 h 6815328"/>
                <a:gd name="connsiteX209" fmla="*/ 1463040 w 3243072"/>
                <a:gd name="connsiteY209" fmla="*/ 2499360 h 6815328"/>
                <a:gd name="connsiteX210" fmla="*/ 1511808 w 3243072"/>
                <a:gd name="connsiteY210" fmla="*/ 2474976 h 6815328"/>
                <a:gd name="connsiteX211" fmla="*/ 1438656 w 3243072"/>
                <a:gd name="connsiteY211" fmla="*/ 2365248 h 6815328"/>
                <a:gd name="connsiteX212" fmla="*/ 1438656 w 3243072"/>
                <a:gd name="connsiteY212" fmla="*/ 2365248 h 6815328"/>
                <a:gd name="connsiteX213" fmla="*/ 1267968 w 3243072"/>
                <a:gd name="connsiteY213" fmla="*/ 2231136 h 6815328"/>
                <a:gd name="connsiteX214" fmla="*/ 1316736 w 3243072"/>
                <a:gd name="connsiteY214" fmla="*/ 2157984 h 6815328"/>
                <a:gd name="connsiteX215" fmla="*/ 1231392 w 3243072"/>
                <a:gd name="connsiteY215" fmla="*/ 2133600 h 6815328"/>
                <a:gd name="connsiteX216" fmla="*/ 1158240 w 3243072"/>
                <a:gd name="connsiteY216" fmla="*/ 2109216 h 6815328"/>
                <a:gd name="connsiteX217" fmla="*/ 1072896 w 3243072"/>
                <a:gd name="connsiteY217" fmla="*/ 2084832 h 6815328"/>
                <a:gd name="connsiteX218" fmla="*/ 1011936 w 3243072"/>
                <a:gd name="connsiteY218" fmla="*/ 2072640 h 6815328"/>
                <a:gd name="connsiteX219" fmla="*/ 1024128 w 3243072"/>
                <a:gd name="connsiteY219" fmla="*/ 1987296 h 6815328"/>
                <a:gd name="connsiteX220" fmla="*/ 975360 w 3243072"/>
                <a:gd name="connsiteY220" fmla="*/ 1999488 h 6815328"/>
                <a:gd name="connsiteX221" fmla="*/ 902208 w 3243072"/>
                <a:gd name="connsiteY221" fmla="*/ 1962912 h 6815328"/>
                <a:gd name="connsiteX222" fmla="*/ 902208 w 3243072"/>
                <a:gd name="connsiteY222" fmla="*/ 1962912 h 6815328"/>
                <a:gd name="connsiteX223" fmla="*/ 841248 w 3243072"/>
                <a:gd name="connsiteY223" fmla="*/ 1926336 h 6815328"/>
                <a:gd name="connsiteX224" fmla="*/ 743712 w 3243072"/>
                <a:gd name="connsiteY224" fmla="*/ 1889760 h 6815328"/>
                <a:gd name="connsiteX225" fmla="*/ 743712 w 3243072"/>
                <a:gd name="connsiteY225" fmla="*/ 1804416 h 6815328"/>
                <a:gd name="connsiteX226" fmla="*/ 829056 w 3243072"/>
                <a:gd name="connsiteY226" fmla="*/ 1767840 h 6815328"/>
                <a:gd name="connsiteX227" fmla="*/ 792480 w 3243072"/>
                <a:gd name="connsiteY227" fmla="*/ 1682496 h 6815328"/>
                <a:gd name="connsiteX228" fmla="*/ 792480 w 3243072"/>
                <a:gd name="connsiteY228" fmla="*/ 1682496 h 6815328"/>
                <a:gd name="connsiteX229" fmla="*/ 914400 w 3243072"/>
                <a:gd name="connsiteY229" fmla="*/ 1670304 h 6815328"/>
                <a:gd name="connsiteX230" fmla="*/ 1011936 w 3243072"/>
                <a:gd name="connsiteY230" fmla="*/ 1682496 h 6815328"/>
                <a:gd name="connsiteX231" fmla="*/ 1024128 w 3243072"/>
                <a:gd name="connsiteY231" fmla="*/ 1645920 h 6815328"/>
                <a:gd name="connsiteX232" fmla="*/ 1060704 w 3243072"/>
                <a:gd name="connsiteY232" fmla="*/ 1719072 h 6815328"/>
                <a:gd name="connsiteX233" fmla="*/ 1194816 w 3243072"/>
                <a:gd name="connsiteY233" fmla="*/ 1609344 h 6815328"/>
                <a:gd name="connsiteX234" fmla="*/ 1158240 w 3243072"/>
                <a:gd name="connsiteY234" fmla="*/ 1597152 h 6815328"/>
                <a:gd name="connsiteX235" fmla="*/ 1182624 w 3243072"/>
                <a:gd name="connsiteY235" fmla="*/ 1511808 h 6815328"/>
                <a:gd name="connsiteX236" fmla="*/ 1182624 w 3243072"/>
                <a:gd name="connsiteY236" fmla="*/ 1511808 h 6815328"/>
                <a:gd name="connsiteX237" fmla="*/ 1072896 w 3243072"/>
                <a:gd name="connsiteY237" fmla="*/ 1450848 h 6815328"/>
                <a:gd name="connsiteX238" fmla="*/ 1072896 w 3243072"/>
                <a:gd name="connsiteY238" fmla="*/ 1353312 h 6815328"/>
                <a:gd name="connsiteX239" fmla="*/ 963168 w 3243072"/>
                <a:gd name="connsiteY239" fmla="*/ 1353312 h 6815328"/>
                <a:gd name="connsiteX240" fmla="*/ 963168 w 3243072"/>
                <a:gd name="connsiteY240" fmla="*/ 1353312 h 6815328"/>
                <a:gd name="connsiteX241" fmla="*/ 1048512 w 3243072"/>
                <a:gd name="connsiteY241" fmla="*/ 1243584 h 6815328"/>
                <a:gd name="connsiteX242" fmla="*/ 1024128 w 3243072"/>
                <a:gd name="connsiteY242" fmla="*/ 1182624 h 6815328"/>
                <a:gd name="connsiteX243" fmla="*/ 975360 w 3243072"/>
                <a:gd name="connsiteY243" fmla="*/ 1182624 h 6815328"/>
                <a:gd name="connsiteX244" fmla="*/ 890016 w 3243072"/>
                <a:gd name="connsiteY244" fmla="*/ 1121664 h 6815328"/>
                <a:gd name="connsiteX245" fmla="*/ 816864 w 3243072"/>
                <a:gd name="connsiteY245" fmla="*/ 1121664 h 6815328"/>
                <a:gd name="connsiteX246" fmla="*/ 719328 w 3243072"/>
                <a:gd name="connsiteY246" fmla="*/ 1158240 h 6815328"/>
                <a:gd name="connsiteX247" fmla="*/ 694944 w 3243072"/>
                <a:gd name="connsiteY247" fmla="*/ 1255776 h 6815328"/>
                <a:gd name="connsiteX248" fmla="*/ 609600 w 3243072"/>
                <a:gd name="connsiteY248" fmla="*/ 1182624 h 6815328"/>
                <a:gd name="connsiteX249" fmla="*/ 560832 w 3243072"/>
                <a:gd name="connsiteY249" fmla="*/ 1207008 h 6815328"/>
                <a:gd name="connsiteX250" fmla="*/ 463296 w 3243072"/>
                <a:gd name="connsiteY250" fmla="*/ 1158240 h 6815328"/>
                <a:gd name="connsiteX251" fmla="*/ 463296 w 3243072"/>
                <a:gd name="connsiteY251" fmla="*/ 1158240 h 6815328"/>
                <a:gd name="connsiteX252" fmla="*/ 390144 w 3243072"/>
                <a:gd name="connsiteY252" fmla="*/ 1085088 h 6815328"/>
                <a:gd name="connsiteX253" fmla="*/ 390144 w 3243072"/>
                <a:gd name="connsiteY253" fmla="*/ 1085088 h 6815328"/>
                <a:gd name="connsiteX254" fmla="*/ 304800 w 3243072"/>
                <a:gd name="connsiteY254" fmla="*/ 975360 h 6815328"/>
                <a:gd name="connsiteX255" fmla="*/ 341376 w 3243072"/>
                <a:gd name="connsiteY255" fmla="*/ 914400 h 6815328"/>
                <a:gd name="connsiteX256" fmla="*/ 329184 w 3243072"/>
                <a:gd name="connsiteY256" fmla="*/ 865632 h 6815328"/>
                <a:gd name="connsiteX257" fmla="*/ 365760 w 3243072"/>
                <a:gd name="connsiteY257" fmla="*/ 816864 h 6815328"/>
                <a:gd name="connsiteX258" fmla="*/ 365760 w 3243072"/>
                <a:gd name="connsiteY258" fmla="*/ 731520 h 6815328"/>
                <a:gd name="connsiteX259" fmla="*/ 280416 w 3243072"/>
                <a:gd name="connsiteY259" fmla="*/ 804672 h 6815328"/>
                <a:gd name="connsiteX260" fmla="*/ 207264 w 3243072"/>
                <a:gd name="connsiteY260" fmla="*/ 682752 h 6815328"/>
                <a:gd name="connsiteX261" fmla="*/ 158496 w 3243072"/>
                <a:gd name="connsiteY261" fmla="*/ 597408 h 6815328"/>
                <a:gd name="connsiteX262" fmla="*/ 109728 w 3243072"/>
                <a:gd name="connsiteY262" fmla="*/ 524256 h 6815328"/>
                <a:gd name="connsiteX263" fmla="*/ 48768 w 3243072"/>
                <a:gd name="connsiteY263" fmla="*/ 524256 h 6815328"/>
                <a:gd name="connsiteX264" fmla="*/ 0 w 3243072"/>
                <a:gd name="connsiteY264"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46048 w 3243072"/>
                <a:gd name="connsiteY20" fmla="*/ 243840 h 6815328"/>
                <a:gd name="connsiteX21" fmla="*/ 1146048 w 3243072"/>
                <a:gd name="connsiteY21" fmla="*/ 243840 h 6815328"/>
                <a:gd name="connsiteX22" fmla="*/ 1158240 w 3243072"/>
                <a:gd name="connsiteY22" fmla="*/ 134112 h 6815328"/>
                <a:gd name="connsiteX23" fmla="*/ 1231392 w 3243072"/>
                <a:gd name="connsiteY23" fmla="*/ 60960 h 6815328"/>
                <a:gd name="connsiteX24" fmla="*/ 1341120 w 3243072"/>
                <a:gd name="connsiteY24" fmla="*/ 36576 h 6815328"/>
                <a:gd name="connsiteX25" fmla="*/ 1377696 w 3243072"/>
                <a:gd name="connsiteY25" fmla="*/ 0 h 6815328"/>
                <a:gd name="connsiteX26" fmla="*/ 1511808 w 3243072"/>
                <a:gd name="connsiteY26" fmla="*/ 121920 h 6815328"/>
                <a:gd name="connsiteX27" fmla="*/ 1511808 w 3243072"/>
                <a:gd name="connsiteY27" fmla="*/ 121920 h 6815328"/>
                <a:gd name="connsiteX28" fmla="*/ 1633728 w 3243072"/>
                <a:gd name="connsiteY28" fmla="*/ 195072 h 6815328"/>
                <a:gd name="connsiteX29" fmla="*/ 1682496 w 3243072"/>
                <a:gd name="connsiteY29" fmla="*/ 158496 h 6815328"/>
                <a:gd name="connsiteX30" fmla="*/ 1755648 w 3243072"/>
                <a:gd name="connsiteY30" fmla="*/ 158496 h 6815328"/>
                <a:gd name="connsiteX31" fmla="*/ 1816608 w 3243072"/>
                <a:gd name="connsiteY31" fmla="*/ 207264 h 6815328"/>
                <a:gd name="connsiteX32" fmla="*/ 1889760 w 3243072"/>
                <a:gd name="connsiteY32" fmla="*/ 195072 h 6815328"/>
                <a:gd name="connsiteX33" fmla="*/ 1975104 w 3243072"/>
                <a:gd name="connsiteY33" fmla="*/ 256032 h 6815328"/>
                <a:gd name="connsiteX34" fmla="*/ 2036064 w 3243072"/>
                <a:gd name="connsiteY34" fmla="*/ 256032 h 6815328"/>
                <a:gd name="connsiteX35" fmla="*/ 1999488 w 3243072"/>
                <a:gd name="connsiteY35" fmla="*/ 365760 h 6815328"/>
                <a:gd name="connsiteX36" fmla="*/ 1938528 w 3243072"/>
                <a:gd name="connsiteY36" fmla="*/ 377952 h 6815328"/>
                <a:gd name="connsiteX37" fmla="*/ 1962912 w 3243072"/>
                <a:gd name="connsiteY37" fmla="*/ 487680 h 6815328"/>
                <a:gd name="connsiteX38" fmla="*/ 1999488 w 3243072"/>
                <a:gd name="connsiteY38" fmla="*/ 499872 h 6815328"/>
                <a:gd name="connsiteX39" fmla="*/ 1975104 w 3243072"/>
                <a:gd name="connsiteY39" fmla="*/ 609600 h 6815328"/>
                <a:gd name="connsiteX40" fmla="*/ 2023872 w 3243072"/>
                <a:gd name="connsiteY40" fmla="*/ 633984 h 6815328"/>
                <a:gd name="connsiteX41" fmla="*/ 2072640 w 3243072"/>
                <a:gd name="connsiteY41" fmla="*/ 621792 h 6815328"/>
                <a:gd name="connsiteX42" fmla="*/ 2121408 w 3243072"/>
                <a:gd name="connsiteY42" fmla="*/ 633984 h 6815328"/>
                <a:gd name="connsiteX43" fmla="*/ 2145792 w 3243072"/>
                <a:gd name="connsiteY43" fmla="*/ 719328 h 6815328"/>
                <a:gd name="connsiteX44" fmla="*/ 2145792 w 3243072"/>
                <a:gd name="connsiteY44" fmla="*/ 719328 h 6815328"/>
                <a:gd name="connsiteX45" fmla="*/ 2304288 w 3243072"/>
                <a:gd name="connsiteY45" fmla="*/ 743712 h 6815328"/>
                <a:gd name="connsiteX46" fmla="*/ 2328672 w 3243072"/>
                <a:gd name="connsiteY46" fmla="*/ 780288 h 6815328"/>
                <a:gd name="connsiteX47" fmla="*/ 2401824 w 3243072"/>
                <a:gd name="connsiteY47" fmla="*/ 768096 h 6815328"/>
                <a:gd name="connsiteX48" fmla="*/ 2438400 w 3243072"/>
                <a:gd name="connsiteY48" fmla="*/ 768096 h 6815328"/>
                <a:gd name="connsiteX49" fmla="*/ 2535936 w 3243072"/>
                <a:gd name="connsiteY49" fmla="*/ 829056 h 6815328"/>
                <a:gd name="connsiteX50" fmla="*/ 2523744 w 3243072"/>
                <a:gd name="connsiteY50" fmla="*/ 877824 h 6815328"/>
                <a:gd name="connsiteX51" fmla="*/ 2487168 w 3243072"/>
                <a:gd name="connsiteY51" fmla="*/ 877824 h 6815328"/>
                <a:gd name="connsiteX52" fmla="*/ 2426208 w 3243072"/>
                <a:gd name="connsiteY52" fmla="*/ 914400 h 6815328"/>
                <a:gd name="connsiteX53" fmla="*/ 2353056 w 3243072"/>
                <a:gd name="connsiteY53" fmla="*/ 963168 h 6815328"/>
                <a:gd name="connsiteX54" fmla="*/ 2316480 w 3243072"/>
                <a:gd name="connsiteY54" fmla="*/ 1036320 h 6815328"/>
                <a:gd name="connsiteX55" fmla="*/ 2255520 w 3243072"/>
                <a:gd name="connsiteY55" fmla="*/ 1097280 h 6815328"/>
                <a:gd name="connsiteX56" fmla="*/ 2255520 w 3243072"/>
                <a:gd name="connsiteY56" fmla="*/ 1097280 h 6815328"/>
                <a:gd name="connsiteX57" fmla="*/ 2097024 w 3243072"/>
                <a:gd name="connsiteY57" fmla="*/ 1121664 h 6815328"/>
                <a:gd name="connsiteX58" fmla="*/ 2011680 w 3243072"/>
                <a:gd name="connsiteY58" fmla="*/ 1158240 h 6815328"/>
                <a:gd name="connsiteX59" fmla="*/ 1999488 w 3243072"/>
                <a:gd name="connsiteY59" fmla="*/ 1219200 h 6815328"/>
                <a:gd name="connsiteX60" fmla="*/ 1975104 w 3243072"/>
                <a:gd name="connsiteY60" fmla="*/ 1280160 h 6815328"/>
                <a:gd name="connsiteX61" fmla="*/ 1938528 w 3243072"/>
                <a:gd name="connsiteY61" fmla="*/ 1389888 h 6815328"/>
                <a:gd name="connsiteX62" fmla="*/ 1901952 w 3243072"/>
                <a:gd name="connsiteY62" fmla="*/ 1426464 h 6815328"/>
                <a:gd name="connsiteX63" fmla="*/ 1853184 w 3243072"/>
                <a:gd name="connsiteY63" fmla="*/ 1499616 h 6815328"/>
                <a:gd name="connsiteX64" fmla="*/ 1853184 w 3243072"/>
                <a:gd name="connsiteY64" fmla="*/ 1499616 h 6815328"/>
                <a:gd name="connsiteX65" fmla="*/ 1792224 w 3243072"/>
                <a:gd name="connsiteY65" fmla="*/ 1487424 h 6815328"/>
                <a:gd name="connsiteX66" fmla="*/ 1743456 w 3243072"/>
                <a:gd name="connsiteY66" fmla="*/ 1572768 h 6815328"/>
                <a:gd name="connsiteX67" fmla="*/ 1670304 w 3243072"/>
                <a:gd name="connsiteY67" fmla="*/ 1560576 h 6815328"/>
                <a:gd name="connsiteX68" fmla="*/ 1633728 w 3243072"/>
                <a:gd name="connsiteY68" fmla="*/ 1706880 h 6815328"/>
                <a:gd name="connsiteX69" fmla="*/ 1584960 w 3243072"/>
                <a:gd name="connsiteY69" fmla="*/ 1780032 h 6815328"/>
                <a:gd name="connsiteX70" fmla="*/ 1609344 w 3243072"/>
                <a:gd name="connsiteY70" fmla="*/ 1865376 h 6815328"/>
                <a:gd name="connsiteX71" fmla="*/ 1584960 w 3243072"/>
                <a:gd name="connsiteY71" fmla="*/ 1926336 h 6815328"/>
                <a:gd name="connsiteX72" fmla="*/ 1572768 w 3243072"/>
                <a:gd name="connsiteY72" fmla="*/ 1987296 h 6815328"/>
                <a:gd name="connsiteX73" fmla="*/ 1524000 w 3243072"/>
                <a:gd name="connsiteY73" fmla="*/ 1999488 h 6815328"/>
                <a:gd name="connsiteX74" fmla="*/ 1560576 w 3243072"/>
                <a:gd name="connsiteY74" fmla="*/ 2097024 h 6815328"/>
                <a:gd name="connsiteX75" fmla="*/ 1645920 w 3243072"/>
                <a:gd name="connsiteY75" fmla="*/ 2231136 h 6815328"/>
                <a:gd name="connsiteX76" fmla="*/ 1645920 w 3243072"/>
                <a:gd name="connsiteY76" fmla="*/ 2231136 h 6815328"/>
                <a:gd name="connsiteX77" fmla="*/ 1767840 w 3243072"/>
                <a:gd name="connsiteY77" fmla="*/ 2328672 h 6815328"/>
                <a:gd name="connsiteX78" fmla="*/ 1816608 w 3243072"/>
                <a:gd name="connsiteY78" fmla="*/ 2414016 h 6815328"/>
                <a:gd name="connsiteX79" fmla="*/ 1865376 w 3243072"/>
                <a:gd name="connsiteY79" fmla="*/ 2377440 h 6815328"/>
                <a:gd name="connsiteX80" fmla="*/ 1926336 w 3243072"/>
                <a:gd name="connsiteY80" fmla="*/ 2462784 h 6815328"/>
                <a:gd name="connsiteX81" fmla="*/ 1901952 w 3243072"/>
                <a:gd name="connsiteY81" fmla="*/ 2535936 h 6815328"/>
                <a:gd name="connsiteX82" fmla="*/ 2036064 w 3243072"/>
                <a:gd name="connsiteY82" fmla="*/ 2779776 h 6815328"/>
                <a:gd name="connsiteX83" fmla="*/ 2157984 w 3243072"/>
                <a:gd name="connsiteY83" fmla="*/ 2877312 h 6815328"/>
                <a:gd name="connsiteX84" fmla="*/ 2279904 w 3243072"/>
                <a:gd name="connsiteY84" fmla="*/ 3023616 h 6815328"/>
                <a:gd name="connsiteX85" fmla="*/ 2328672 w 3243072"/>
                <a:gd name="connsiteY85" fmla="*/ 3096768 h 6815328"/>
                <a:gd name="connsiteX86" fmla="*/ 2487168 w 3243072"/>
                <a:gd name="connsiteY86" fmla="*/ 3169920 h 6815328"/>
                <a:gd name="connsiteX87" fmla="*/ 2511552 w 3243072"/>
                <a:gd name="connsiteY87" fmla="*/ 3267456 h 6815328"/>
                <a:gd name="connsiteX88" fmla="*/ 2511552 w 3243072"/>
                <a:gd name="connsiteY88" fmla="*/ 3267456 h 6815328"/>
                <a:gd name="connsiteX89" fmla="*/ 2596896 w 3243072"/>
                <a:gd name="connsiteY89" fmla="*/ 3206496 h 6815328"/>
                <a:gd name="connsiteX90" fmla="*/ 2609088 w 3243072"/>
                <a:gd name="connsiteY90" fmla="*/ 3279648 h 6815328"/>
                <a:gd name="connsiteX91" fmla="*/ 2657856 w 3243072"/>
                <a:gd name="connsiteY91" fmla="*/ 3279648 h 6815328"/>
                <a:gd name="connsiteX92" fmla="*/ 2645664 w 3243072"/>
                <a:gd name="connsiteY92" fmla="*/ 3328416 h 6815328"/>
                <a:gd name="connsiteX93" fmla="*/ 2779776 w 3243072"/>
                <a:gd name="connsiteY93" fmla="*/ 3425952 h 6815328"/>
                <a:gd name="connsiteX94" fmla="*/ 2816352 w 3243072"/>
                <a:gd name="connsiteY94" fmla="*/ 3547872 h 6815328"/>
                <a:gd name="connsiteX95" fmla="*/ 2877312 w 3243072"/>
                <a:gd name="connsiteY95" fmla="*/ 3621024 h 6815328"/>
                <a:gd name="connsiteX96" fmla="*/ 2926080 w 3243072"/>
                <a:gd name="connsiteY96" fmla="*/ 3645408 h 6815328"/>
                <a:gd name="connsiteX97" fmla="*/ 2926080 w 3243072"/>
                <a:gd name="connsiteY97" fmla="*/ 3645408 h 6815328"/>
                <a:gd name="connsiteX98" fmla="*/ 2987040 w 3243072"/>
                <a:gd name="connsiteY98" fmla="*/ 3767328 h 6815328"/>
                <a:gd name="connsiteX99" fmla="*/ 3011424 w 3243072"/>
                <a:gd name="connsiteY99" fmla="*/ 3864864 h 6815328"/>
                <a:gd name="connsiteX100" fmla="*/ 3060192 w 3243072"/>
                <a:gd name="connsiteY100" fmla="*/ 4011168 h 6815328"/>
                <a:gd name="connsiteX101" fmla="*/ 3096768 w 3243072"/>
                <a:gd name="connsiteY101" fmla="*/ 4157472 h 6815328"/>
                <a:gd name="connsiteX102" fmla="*/ 3133344 w 3243072"/>
                <a:gd name="connsiteY102" fmla="*/ 4291584 h 6815328"/>
                <a:gd name="connsiteX103" fmla="*/ 3169920 w 3243072"/>
                <a:gd name="connsiteY103" fmla="*/ 4389120 h 6815328"/>
                <a:gd name="connsiteX104" fmla="*/ 3133344 w 3243072"/>
                <a:gd name="connsiteY104" fmla="*/ 4437888 h 6815328"/>
                <a:gd name="connsiteX105" fmla="*/ 3133344 w 3243072"/>
                <a:gd name="connsiteY105" fmla="*/ 4498848 h 6815328"/>
                <a:gd name="connsiteX106" fmla="*/ 3133344 w 3243072"/>
                <a:gd name="connsiteY106" fmla="*/ 4498848 h 6815328"/>
                <a:gd name="connsiteX107" fmla="*/ 3133344 w 3243072"/>
                <a:gd name="connsiteY107" fmla="*/ 4498848 h 6815328"/>
                <a:gd name="connsiteX108" fmla="*/ 3169920 w 3243072"/>
                <a:gd name="connsiteY108" fmla="*/ 4608576 h 6815328"/>
                <a:gd name="connsiteX109" fmla="*/ 3194304 w 3243072"/>
                <a:gd name="connsiteY109" fmla="*/ 4706112 h 6815328"/>
                <a:gd name="connsiteX110" fmla="*/ 3243072 w 3243072"/>
                <a:gd name="connsiteY110" fmla="*/ 4779264 h 6815328"/>
                <a:gd name="connsiteX111" fmla="*/ 3194304 w 3243072"/>
                <a:gd name="connsiteY111" fmla="*/ 4852416 h 6815328"/>
                <a:gd name="connsiteX112" fmla="*/ 3194304 w 3243072"/>
                <a:gd name="connsiteY112" fmla="*/ 4852416 h 6815328"/>
                <a:gd name="connsiteX113" fmla="*/ 3169920 w 3243072"/>
                <a:gd name="connsiteY113" fmla="*/ 4986528 h 6815328"/>
                <a:gd name="connsiteX114" fmla="*/ 3169920 w 3243072"/>
                <a:gd name="connsiteY114" fmla="*/ 5047488 h 6815328"/>
                <a:gd name="connsiteX115" fmla="*/ 3145536 w 3243072"/>
                <a:gd name="connsiteY115" fmla="*/ 5047488 h 6815328"/>
                <a:gd name="connsiteX116" fmla="*/ 3182112 w 3243072"/>
                <a:gd name="connsiteY116" fmla="*/ 5132832 h 6815328"/>
                <a:gd name="connsiteX117" fmla="*/ 3133344 w 3243072"/>
                <a:gd name="connsiteY117" fmla="*/ 5157216 h 6815328"/>
                <a:gd name="connsiteX118" fmla="*/ 3133344 w 3243072"/>
                <a:gd name="connsiteY118" fmla="*/ 5157216 h 6815328"/>
                <a:gd name="connsiteX119" fmla="*/ 3133344 w 3243072"/>
                <a:gd name="connsiteY119" fmla="*/ 5327904 h 6815328"/>
                <a:gd name="connsiteX120" fmla="*/ 3096768 w 3243072"/>
                <a:gd name="connsiteY120" fmla="*/ 5437632 h 6815328"/>
                <a:gd name="connsiteX121" fmla="*/ 3048000 w 3243072"/>
                <a:gd name="connsiteY121" fmla="*/ 5437632 h 6815328"/>
                <a:gd name="connsiteX122" fmla="*/ 3048000 w 3243072"/>
                <a:gd name="connsiteY122" fmla="*/ 5437632 h 6815328"/>
                <a:gd name="connsiteX123" fmla="*/ 2926080 w 3243072"/>
                <a:gd name="connsiteY123" fmla="*/ 5535168 h 6815328"/>
                <a:gd name="connsiteX124" fmla="*/ 2889504 w 3243072"/>
                <a:gd name="connsiteY124" fmla="*/ 5608320 h 6815328"/>
                <a:gd name="connsiteX125" fmla="*/ 2816352 w 3243072"/>
                <a:gd name="connsiteY125" fmla="*/ 5620512 h 6815328"/>
                <a:gd name="connsiteX126" fmla="*/ 2791968 w 3243072"/>
                <a:gd name="connsiteY126" fmla="*/ 5657088 h 6815328"/>
                <a:gd name="connsiteX127" fmla="*/ 2694432 w 3243072"/>
                <a:gd name="connsiteY127" fmla="*/ 5669280 h 6815328"/>
                <a:gd name="connsiteX128" fmla="*/ 2682240 w 3243072"/>
                <a:gd name="connsiteY128" fmla="*/ 5718048 h 6815328"/>
                <a:gd name="connsiteX129" fmla="*/ 2633472 w 3243072"/>
                <a:gd name="connsiteY129" fmla="*/ 5766816 h 6815328"/>
                <a:gd name="connsiteX130" fmla="*/ 2633472 w 3243072"/>
                <a:gd name="connsiteY130" fmla="*/ 5766816 h 6815328"/>
                <a:gd name="connsiteX131" fmla="*/ 2438400 w 3243072"/>
                <a:gd name="connsiteY131" fmla="*/ 5815584 h 6815328"/>
                <a:gd name="connsiteX132" fmla="*/ 2316480 w 3243072"/>
                <a:gd name="connsiteY132" fmla="*/ 5925312 h 6815328"/>
                <a:gd name="connsiteX133" fmla="*/ 2231136 w 3243072"/>
                <a:gd name="connsiteY133" fmla="*/ 5998464 h 6815328"/>
                <a:gd name="connsiteX134" fmla="*/ 2072640 w 3243072"/>
                <a:gd name="connsiteY134" fmla="*/ 5974080 h 6815328"/>
                <a:gd name="connsiteX135" fmla="*/ 2023872 w 3243072"/>
                <a:gd name="connsiteY135" fmla="*/ 6035040 h 6815328"/>
                <a:gd name="connsiteX136" fmla="*/ 2048256 w 3243072"/>
                <a:gd name="connsiteY136" fmla="*/ 6083808 h 6815328"/>
                <a:gd name="connsiteX137" fmla="*/ 1999488 w 3243072"/>
                <a:gd name="connsiteY137" fmla="*/ 6132576 h 6815328"/>
                <a:gd name="connsiteX138" fmla="*/ 1987296 w 3243072"/>
                <a:gd name="connsiteY138" fmla="*/ 6230112 h 6815328"/>
                <a:gd name="connsiteX139" fmla="*/ 1950720 w 3243072"/>
                <a:gd name="connsiteY139" fmla="*/ 6266688 h 6815328"/>
                <a:gd name="connsiteX140" fmla="*/ 1938528 w 3243072"/>
                <a:gd name="connsiteY140" fmla="*/ 6339840 h 6815328"/>
                <a:gd name="connsiteX141" fmla="*/ 1865376 w 3243072"/>
                <a:gd name="connsiteY141" fmla="*/ 6364224 h 6815328"/>
                <a:gd name="connsiteX142" fmla="*/ 1792224 w 3243072"/>
                <a:gd name="connsiteY142" fmla="*/ 6364224 h 6815328"/>
                <a:gd name="connsiteX143" fmla="*/ 1792224 w 3243072"/>
                <a:gd name="connsiteY143" fmla="*/ 6364224 h 6815328"/>
                <a:gd name="connsiteX144" fmla="*/ 1767840 w 3243072"/>
                <a:gd name="connsiteY144" fmla="*/ 6449568 h 6815328"/>
                <a:gd name="connsiteX145" fmla="*/ 1463040 w 3243072"/>
                <a:gd name="connsiteY145" fmla="*/ 6522720 h 6815328"/>
                <a:gd name="connsiteX146" fmla="*/ 1353312 w 3243072"/>
                <a:gd name="connsiteY146" fmla="*/ 6693408 h 6815328"/>
                <a:gd name="connsiteX147" fmla="*/ 1280160 w 3243072"/>
                <a:gd name="connsiteY147" fmla="*/ 6754368 h 6815328"/>
                <a:gd name="connsiteX148" fmla="*/ 1182624 w 3243072"/>
                <a:gd name="connsiteY148" fmla="*/ 6815328 h 6815328"/>
                <a:gd name="connsiteX149" fmla="*/ 1097280 w 3243072"/>
                <a:gd name="connsiteY149" fmla="*/ 6754368 h 6815328"/>
                <a:gd name="connsiteX150" fmla="*/ 1146048 w 3243072"/>
                <a:gd name="connsiteY150" fmla="*/ 6729984 h 6815328"/>
                <a:gd name="connsiteX151" fmla="*/ 1146048 w 3243072"/>
                <a:gd name="connsiteY151" fmla="*/ 6729984 h 6815328"/>
                <a:gd name="connsiteX152" fmla="*/ 1133856 w 3243072"/>
                <a:gd name="connsiteY152" fmla="*/ 6266688 h 6815328"/>
                <a:gd name="connsiteX153" fmla="*/ 1133856 w 3243072"/>
                <a:gd name="connsiteY153" fmla="*/ 6266688 h 6815328"/>
                <a:gd name="connsiteX154" fmla="*/ 1243584 w 3243072"/>
                <a:gd name="connsiteY154" fmla="*/ 6169152 h 6815328"/>
                <a:gd name="connsiteX155" fmla="*/ 1182624 w 3243072"/>
                <a:gd name="connsiteY155" fmla="*/ 6083808 h 6815328"/>
                <a:gd name="connsiteX156" fmla="*/ 1121664 w 3243072"/>
                <a:gd name="connsiteY156" fmla="*/ 6059424 h 6815328"/>
                <a:gd name="connsiteX157" fmla="*/ 999744 w 3243072"/>
                <a:gd name="connsiteY157" fmla="*/ 6059424 h 6815328"/>
                <a:gd name="connsiteX158" fmla="*/ 938784 w 3243072"/>
                <a:gd name="connsiteY158" fmla="*/ 5949696 h 6815328"/>
                <a:gd name="connsiteX159" fmla="*/ 1072896 w 3243072"/>
                <a:gd name="connsiteY159" fmla="*/ 5864352 h 6815328"/>
                <a:gd name="connsiteX160" fmla="*/ 1182624 w 3243072"/>
                <a:gd name="connsiteY160" fmla="*/ 5864352 h 6815328"/>
                <a:gd name="connsiteX161" fmla="*/ 1255776 w 3243072"/>
                <a:gd name="connsiteY161" fmla="*/ 5839968 h 6815328"/>
                <a:gd name="connsiteX162" fmla="*/ 1194816 w 3243072"/>
                <a:gd name="connsiteY162" fmla="*/ 5693664 h 6815328"/>
                <a:gd name="connsiteX163" fmla="*/ 1365504 w 3243072"/>
                <a:gd name="connsiteY163" fmla="*/ 5730240 h 6815328"/>
                <a:gd name="connsiteX164" fmla="*/ 1536192 w 3243072"/>
                <a:gd name="connsiteY164" fmla="*/ 5620512 h 6815328"/>
                <a:gd name="connsiteX165" fmla="*/ 1633728 w 3243072"/>
                <a:gd name="connsiteY165" fmla="*/ 5657088 h 6815328"/>
                <a:gd name="connsiteX166" fmla="*/ 1633728 w 3243072"/>
                <a:gd name="connsiteY166" fmla="*/ 5657088 h 6815328"/>
                <a:gd name="connsiteX167" fmla="*/ 1719072 w 3243072"/>
                <a:gd name="connsiteY167" fmla="*/ 5730240 h 6815328"/>
                <a:gd name="connsiteX168" fmla="*/ 1719072 w 3243072"/>
                <a:gd name="connsiteY168" fmla="*/ 5730240 h 6815328"/>
                <a:gd name="connsiteX169" fmla="*/ 1694688 w 3243072"/>
                <a:gd name="connsiteY169" fmla="*/ 5583936 h 6815328"/>
                <a:gd name="connsiteX170" fmla="*/ 1584960 w 3243072"/>
                <a:gd name="connsiteY170" fmla="*/ 5559552 h 6815328"/>
                <a:gd name="connsiteX171" fmla="*/ 1597152 w 3243072"/>
                <a:gd name="connsiteY171" fmla="*/ 5388864 h 6815328"/>
                <a:gd name="connsiteX172" fmla="*/ 1694688 w 3243072"/>
                <a:gd name="connsiteY172" fmla="*/ 5327904 h 6815328"/>
                <a:gd name="connsiteX173" fmla="*/ 1694688 w 3243072"/>
                <a:gd name="connsiteY173" fmla="*/ 5327904 h 6815328"/>
                <a:gd name="connsiteX174" fmla="*/ 1914144 w 3243072"/>
                <a:gd name="connsiteY174" fmla="*/ 5340096 h 6815328"/>
                <a:gd name="connsiteX175" fmla="*/ 1840992 w 3243072"/>
                <a:gd name="connsiteY175" fmla="*/ 5193792 h 6815328"/>
                <a:gd name="connsiteX176" fmla="*/ 2036064 w 3243072"/>
                <a:gd name="connsiteY176" fmla="*/ 5181600 h 6815328"/>
                <a:gd name="connsiteX177" fmla="*/ 2084832 w 3243072"/>
                <a:gd name="connsiteY177" fmla="*/ 5157216 h 6815328"/>
                <a:gd name="connsiteX178" fmla="*/ 2279904 w 3243072"/>
                <a:gd name="connsiteY178" fmla="*/ 5047488 h 6815328"/>
                <a:gd name="connsiteX179" fmla="*/ 2353056 w 3243072"/>
                <a:gd name="connsiteY179" fmla="*/ 5047488 h 6815328"/>
                <a:gd name="connsiteX180" fmla="*/ 2365248 w 3243072"/>
                <a:gd name="connsiteY180" fmla="*/ 4888992 h 6815328"/>
                <a:gd name="connsiteX181" fmla="*/ 2340864 w 3243072"/>
                <a:gd name="connsiteY181" fmla="*/ 4754880 h 6815328"/>
                <a:gd name="connsiteX182" fmla="*/ 2353056 w 3243072"/>
                <a:gd name="connsiteY182" fmla="*/ 4645152 h 6815328"/>
                <a:gd name="connsiteX183" fmla="*/ 2401824 w 3243072"/>
                <a:gd name="connsiteY183" fmla="*/ 4523232 h 6815328"/>
                <a:gd name="connsiteX184" fmla="*/ 2328672 w 3243072"/>
                <a:gd name="connsiteY184" fmla="*/ 4376928 h 6815328"/>
                <a:gd name="connsiteX185" fmla="*/ 2279904 w 3243072"/>
                <a:gd name="connsiteY185" fmla="*/ 4218432 h 6815328"/>
                <a:gd name="connsiteX186" fmla="*/ 2304288 w 3243072"/>
                <a:gd name="connsiteY186" fmla="*/ 4072128 h 6815328"/>
                <a:gd name="connsiteX187" fmla="*/ 2304288 w 3243072"/>
                <a:gd name="connsiteY187" fmla="*/ 4072128 h 6815328"/>
                <a:gd name="connsiteX188" fmla="*/ 2353056 w 3243072"/>
                <a:gd name="connsiteY188" fmla="*/ 3913632 h 6815328"/>
                <a:gd name="connsiteX189" fmla="*/ 2340864 w 3243072"/>
                <a:gd name="connsiteY189" fmla="*/ 3803904 h 6815328"/>
                <a:gd name="connsiteX190" fmla="*/ 2414016 w 3243072"/>
                <a:gd name="connsiteY190" fmla="*/ 3730752 h 6815328"/>
                <a:gd name="connsiteX191" fmla="*/ 2377440 w 3243072"/>
                <a:gd name="connsiteY191" fmla="*/ 3694176 h 6815328"/>
                <a:gd name="connsiteX192" fmla="*/ 2353056 w 3243072"/>
                <a:gd name="connsiteY192" fmla="*/ 3621024 h 6815328"/>
                <a:gd name="connsiteX193" fmla="*/ 2292096 w 3243072"/>
                <a:gd name="connsiteY193" fmla="*/ 3621024 h 6815328"/>
                <a:gd name="connsiteX194" fmla="*/ 2218944 w 3243072"/>
                <a:gd name="connsiteY194" fmla="*/ 3560064 h 6815328"/>
                <a:gd name="connsiteX195" fmla="*/ 2157984 w 3243072"/>
                <a:gd name="connsiteY195" fmla="*/ 3499104 h 6815328"/>
                <a:gd name="connsiteX196" fmla="*/ 2157984 w 3243072"/>
                <a:gd name="connsiteY196" fmla="*/ 3499104 h 6815328"/>
                <a:gd name="connsiteX197" fmla="*/ 2292096 w 3243072"/>
                <a:gd name="connsiteY197" fmla="*/ 3364992 h 6815328"/>
                <a:gd name="connsiteX198" fmla="*/ 2182368 w 3243072"/>
                <a:gd name="connsiteY198" fmla="*/ 3304032 h 6815328"/>
                <a:gd name="connsiteX199" fmla="*/ 2182368 w 3243072"/>
                <a:gd name="connsiteY199" fmla="*/ 3304032 h 6815328"/>
                <a:gd name="connsiteX200" fmla="*/ 2121408 w 3243072"/>
                <a:gd name="connsiteY200" fmla="*/ 3279648 h 6815328"/>
                <a:gd name="connsiteX201" fmla="*/ 2036064 w 3243072"/>
                <a:gd name="connsiteY201" fmla="*/ 3145536 h 6815328"/>
                <a:gd name="connsiteX202" fmla="*/ 1987296 w 3243072"/>
                <a:gd name="connsiteY202" fmla="*/ 3218688 h 6815328"/>
                <a:gd name="connsiteX203" fmla="*/ 1950720 w 3243072"/>
                <a:gd name="connsiteY203" fmla="*/ 3096768 h 6815328"/>
                <a:gd name="connsiteX204" fmla="*/ 1877568 w 3243072"/>
                <a:gd name="connsiteY204" fmla="*/ 3023616 h 6815328"/>
                <a:gd name="connsiteX205" fmla="*/ 1901952 w 3243072"/>
                <a:gd name="connsiteY205" fmla="*/ 2913888 h 6815328"/>
                <a:gd name="connsiteX206" fmla="*/ 1816608 w 3243072"/>
                <a:gd name="connsiteY206" fmla="*/ 2852928 h 6815328"/>
                <a:gd name="connsiteX207" fmla="*/ 1804416 w 3243072"/>
                <a:gd name="connsiteY207" fmla="*/ 2779776 h 6815328"/>
                <a:gd name="connsiteX208" fmla="*/ 1560576 w 3243072"/>
                <a:gd name="connsiteY208" fmla="*/ 2621280 h 6815328"/>
                <a:gd name="connsiteX209" fmla="*/ 1463040 w 3243072"/>
                <a:gd name="connsiteY209" fmla="*/ 2499360 h 6815328"/>
                <a:gd name="connsiteX210" fmla="*/ 1511808 w 3243072"/>
                <a:gd name="connsiteY210" fmla="*/ 2474976 h 6815328"/>
                <a:gd name="connsiteX211" fmla="*/ 1438656 w 3243072"/>
                <a:gd name="connsiteY211" fmla="*/ 2365248 h 6815328"/>
                <a:gd name="connsiteX212" fmla="*/ 1438656 w 3243072"/>
                <a:gd name="connsiteY212" fmla="*/ 2365248 h 6815328"/>
                <a:gd name="connsiteX213" fmla="*/ 1267968 w 3243072"/>
                <a:gd name="connsiteY213" fmla="*/ 2231136 h 6815328"/>
                <a:gd name="connsiteX214" fmla="*/ 1316736 w 3243072"/>
                <a:gd name="connsiteY214" fmla="*/ 2157984 h 6815328"/>
                <a:gd name="connsiteX215" fmla="*/ 1231392 w 3243072"/>
                <a:gd name="connsiteY215" fmla="*/ 2133600 h 6815328"/>
                <a:gd name="connsiteX216" fmla="*/ 1158240 w 3243072"/>
                <a:gd name="connsiteY216" fmla="*/ 2109216 h 6815328"/>
                <a:gd name="connsiteX217" fmla="*/ 1072896 w 3243072"/>
                <a:gd name="connsiteY217" fmla="*/ 2084832 h 6815328"/>
                <a:gd name="connsiteX218" fmla="*/ 1011936 w 3243072"/>
                <a:gd name="connsiteY218" fmla="*/ 2072640 h 6815328"/>
                <a:gd name="connsiteX219" fmla="*/ 1024128 w 3243072"/>
                <a:gd name="connsiteY219" fmla="*/ 1987296 h 6815328"/>
                <a:gd name="connsiteX220" fmla="*/ 975360 w 3243072"/>
                <a:gd name="connsiteY220" fmla="*/ 1999488 h 6815328"/>
                <a:gd name="connsiteX221" fmla="*/ 902208 w 3243072"/>
                <a:gd name="connsiteY221" fmla="*/ 1962912 h 6815328"/>
                <a:gd name="connsiteX222" fmla="*/ 902208 w 3243072"/>
                <a:gd name="connsiteY222" fmla="*/ 1962912 h 6815328"/>
                <a:gd name="connsiteX223" fmla="*/ 841248 w 3243072"/>
                <a:gd name="connsiteY223" fmla="*/ 1926336 h 6815328"/>
                <a:gd name="connsiteX224" fmla="*/ 743712 w 3243072"/>
                <a:gd name="connsiteY224" fmla="*/ 1889760 h 6815328"/>
                <a:gd name="connsiteX225" fmla="*/ 743712 w 3243072"/>
                <a:gd name="connsiteY225" fmla="*/ 1804416 h 6815328"/>
                <a:gd name="connsiteX226" fmla="*/ 829056 w 3243072"/>
                <a:gd name="connsiteY226" fmla="*/ 1767840 h 6815328"/>
                <a:gd name="connsiteX227" fmla="*/ 792480 w 3243072"/>
                <a:gd name="connsiteY227" fmla="*/ 1682496 h 6815328"/>
                <a:gd name="connsiteX228" fmla="*/ 792480 w 3243072"/>
                <a:gd name="connsiteY228" fmla="*/ 1682496 h 6815328"/>
                <a:gd name="connsiteX229" fmla="*/ 914400 w 3243072"/>
                <a:gd name="connsiteY229" fmla="*/ 1670304 h 6815328"/>
                <a:gd name="connsiteX230" fmla="*/ 1011936 w 3243072"/>
                <a:gd name="connsiteY230" fmla="*/ 1682496 h 6815328"/>
                <a:gd name="connsiteX231" fmla="*/ 1024128 w 3243072"/>
                <a:gd name="connsiteY231" fmla="*/ 1645920 h 6815328"/>
                <a:gd name="connsiteX232" fmla="*/ 1060704 w 3243072"/>
                <a:gd name="connsiteY232" fmla="*/ 1719072 h 6815328"/>
                <a:gd name="connsiteX233" fmla="*/ 1194816 w 3243072"/>
                <a:gd name="connsiteY233" fmla="*/ 1609344 h 6815328"/>
                <a:gd name="connsiteX234" fmla="*/ 1158240 w 3243072"/>
                <a:gd name="connsiteY234" fmla="*/ 1597152 h 6815328"/>
                <a:gd name="connsiteX235" fmla="*/ 1182624 w 3243072"/>
                <a:gd name="connsiteY235" fmla="*/ 1511808 h 6815328"/>
                <a:gd name="connsiteX236" fmla="*/ 1182624 w 3243072"/>
                <a:gd name="connsiteY236" fmla="*/ 1511808 h 6815328"/>
                <a:gd name="connsiteX237" fmla="*/ 1072896 w 3243072"/>
                <a:gd name="connsiteY237" fmla="*/ 1450848 h 6815328"/>
                <a:gd name="connsiteX238" fmla="*/ 1072896 w 3243072"/>
                <a:gd name="connsiteY238" fmla="*/ 1353312 h 6815328"/>
                <a:gd name="connsiteX239" fmla="*/ 963168 w 3243072"/>
                <a:gd name="connsiteY239" fmla="*/ 1353312 h 6815328"/>
                <a:gd name="connsiteX240" fmla="*/ 963168 w 3243072"/>
                <a:gd name="connsiteY240" fmla="*/ 1353312 h 6815328"/>
                <a:gd name="connsiteX241" fmla="*/ 1048512 w 3243072"/>
                <a:gd name="connsiteY241" fmla="*/ 1243584 h 6815328"/>
                <a:gd name="connsiteX242" fmla="*/ 1024128 w 3243072"/>
                <a:gd name="connsiteY242" fmla="*/ 1182624 h 6815328"/>
                <a:gd name="connsiteX243" fmla="*/ 975360 w 3243072"/>
                <a:gd name="connsiteY243" fmla="*/ 1182624 h 6815328"/>
                <a:gd name="connsiteX244" fmla="*/ 890016 w 3243072"/>
                <a:gd name="connsiteY244" fmla="*/ 1121664 h 6815328"/>
                <a:gd name="connsiteX245" fmla="*/ 816864 w 3243072"/>
                <a:gd name="connsiteY245" fmla="*/ 1121664 h 6815328"/>
                <a:gd name="connsiteX246" fmla="*/ 719328 w 3243072"/>
                <a:gd name="connsiteY246" fmla="*/ 1158240 h 6815328"/>
                <a:gd name="connsiteX247" fmla="*/ 694944 w 3243072"/>
                <a:gd name="connsiteY247" fmla="*/ 1255776 h 6815328"/>
                <a:gd name="connsiteX248" fmla="*/ 609600 w 3243072"/>
                <a:gd name="connsiteY248" fmla="*/ 1182624 h 6815328"/>
                <a:gd name="connsiteX249" fmla="*/ 560832 w 3243072"/>
                <a:gd name="connsiteY249" fmla="*/ 1207008 h 6815328"/>
                <a:gd name="connsiteX250" fmla="*/ 463296 w 3243072"/>
                <a:gd name="connsiteY250" fmla="*/ 1158240 h 6815328"/>
                <a:gd name="connsiteX251" fmla="*/ 463296 w 3243072"/>
                <a:gd name="connsiteY251" fmla="*/ 1158240 h 6815328"/>
                <a:gd name="connsiteX252" fmla="*/ 390144 w 3243072"/>
                <a:gd name="connsiteY252" fmla="*/ 1085088 h 6815328"/>
                <a:gd name="connsiteX253" fmla="*/ 390144 w 3243072"/>
                <a:gd name="connsiteY253" fmla="*/ 1085088 h 6815328"/>
                <a:gd name="connsiteX254" fmla="*/ 304800 w 3243072"/>
                <a:gd name="connsiteY254" fmla="*/ 975360 h 6815328"/>
                <a:gd name="connsiteX255" fmla="*/ 341376 w 3243072"/>
                <a:gd name="connsiteY255" fmla="*/ 914400 h 6815328"/>
                <a:gd name="connsiteX256" fmla="*/ 329184 w 3243072"/>
                <a:gd name="connsiteY256" fmla="*/ 865632 h 6815328"/>
                <a:gd name="connsiteX257" fmla="*/ 365760 w 3243072"/>
                <a:gd name="connsiteY257" fmla="*/ 816864 h 6815328"/>
                <a:gd name="connsiteX258" fmla="*/ 365760 w 3243072"/>
                <a:gd name="connsiteY258" fmla="*/ 731520 h 6815328"/>
                <a:gd name="connsiteX259" fmla="*/ 280416 w 3243072"/>
                <a:gd name="connsiteY259" fmla="*/ 804672 h 6815328"/>
                <a:gd name="connsiteX260" fmla="*/ 207264 w 3243072"/>
                <a:gd name="connsiteY260" fmla="*/ 682752 h 6815328"/>
                <a:gd name="connsiteX261" fmla="*/ 158496 w 3243072"/>
                <a:gd name="connsiteY261" fmla="*/ 597408 h 6815328"/>
                <a:gd name="connsiteX262" fmla="*/ 109728 w 3243072"/>
                <a:gd name="connsiteY262" fmla="*/ 524256 h 6815328"/>
                <a:gd name="connsiteX263" fmla="*/ 48768 w 3243072"/>
                <a:gd name="connsiteY263" fmla="*/ 524256 h 6815328"/>
                <a:gd name="connsiteX264" fmla="*/ 0 w 3243072"/>
                <a:gd name="connsiteY264"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41120 w 3243072"/>
                <a:gd name="connsiteY25" fmla="*/ 36576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41120 w 3243072"/>
                <a:gd name="connsiteY25" fmla="*/ 36576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41120 w 3243072"/>
                <a:gd name="connsiteY25" fmla="*/ 36576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41120 w 3243072"/>
                <a:gd name="connsiteY25" fmla="*/ 36576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62912 w 3243072"/>
                <a:gd name="connsiteY38" fmla="*/ 487680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8672 w 3243072"/>
                <a:gd name="connsiteY47" fmla="*/ 780288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38400 w 3243072"/>
                <a:gd name="connsiteY49" fmla="*/ 768096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084832 w 3243072"/>
                <a:gd name="connsiteY178" fmla="*/ 5157216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63168 w 3243072"/>
                <a:gd name="connsiteY241" fmla="*/ 1353312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72693 w 3243072"/>
                <a:gd name="connsiteY241" fmla="*/ 1329500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72693 w 3243072"/>
                <a:gd name="connsiteY241" fmla="*/ 1329500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72693 w 3243072"/>
                <a:gd name="connsiteY241" fmla="*/ 1329500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72693 w 3243072"/>
                <a:gd name="connsiteY241" fmla="*/ 1329500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72693 w 3243072"/>
                <a:gd name="connsiteY241" fmla="*/ 1329500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72693 w 3243072"/>
                <a:gd name="connsiteY241" fmla="*/ 1329500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73152 w 3243072"/>
                <a:gd name="connsiteY2" fmla="*/ 390144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72693 w 3243072"/>
                <a:gd name="connsiteY241" fmla="*/ 1329500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43072"/>
                <a:gd name="connsiteY0" fmla="*/ 390144 h 6815328"/>
                <a:gd name="connsiteX1" fmla="*/ 73152 w 3243072"/>
                <a:gd name="connsiteY1" fmla="*/ 390144 h 6815328"/>
                <a:gd name="connsiteX2" fmla="*/ 130302 w 3243072"/>
                <a:gd name="connsiteY2" fmla="*/ 373475 h 6815328"/>
                <a:gd name="connsiteX3" fmla="*/ 121920 w 3243072"/>
                <a:gd name="connsiteY3" fmla="*/ 292608 h 6815328"/>
                <a:gd name="connsiteX4" fmla="*/ 121920 w 3243072"/>
                <a:gd name="connsiteY4" fmla="*/ 292608 h 6815328"/>
                <a:gd name="connsiteX5" fmla="*/ 195072 w 3243072"/>
                <a:gd name="connsiteY5" fmla="*/ 256032 h 6815328"/>
                <a:gd name="connsiteX6" fmla="*/ 243840 w 3243072"/>
                <a:gd name="connsiteY6" fmla="*/ 268224 h 6815328"/>
                <a:gd name="connsiteX7" fmla="*/ 353568 w 3243072"/>
                <a:gd name="connsiteY7" fmla="*/ 341376 h 6815328"/>
                <a:gd name="connsiteX8" fmla="*/ 377952 w 3243072"/>
                <a:gd name="connsiteY8" fmla="*/ 414528 h 6815328"/>
                <a:gd name="connsiteX9" fmla="*/ 451104 w 3243072"/>
                <a:gd name="connsiteY9" fmla="*/ 402336 h 6815328"/>
                <a:gd name="connsiteX10" fmla="*/ 463296 w 3243072"/>
                <a:gd name="connsiteY10" fmla="*/ 329184 h 6815328"/>
                <a:gd name="connsiteX11" fmla="*/ 463296 w 3243072"/>
                <a:gd name="connsiteY11" fmla="*/ 329184 h 6815328"/>
                <a:gd name="connsiteX12" fmla="*/ 536448 w 3243072"/>
                <a:gd name="connsiteY12" fmla="*/ 219456 h 6815328"/>
                <a:gd name="connsiteX13" fmla="*/ 621792 w 3243072"/>
                <a:gd name="connsiteY13" fmla="*/ 329184 h 6815328"/>
                <a:gd name="connsiteX14" fmla="*/ 646176 w 3243072"/>
                <a:gd name="connsiteY14" fmla="*/ 231648 h 6815328"/>
                <a:gd name="connsiteX15" fmla="*/ 804672 w 3243072"/>
                <a:gd name="connsiteY15" fmla="*/ 365760 h 6815328"/>
                <a:gd name="connsiteX16" fmla="*/ 877824 w 3243072"/>
                <a:gd name="connsiteY16" fmla="*/ 219456 h 6815328"/>
                <a:gd name="connsiteX17" fmla="*/ 921544 w 3243072"/>
                <a:gd name="connsiteY17" fmla="*/ 204883 h 6815328"/>
                <a:gd name="connsiteX18" fmla="*/ 950976 w 3243072"/>
                <a:gd name="connsiteY18" fmla="*/ 304800 h 6815328"/>
                <a:gd name="connsiteX19" fmla="*/ 1097280 w 3243072"/>
                <a:gd name="connsiteY19" fmla="*/ 219456 h 6815328"/>
                <a:gd name="connsiteX20" fmla="*/ 1128046 w 3243072"/>
                <a:gd name="connsiteY20" fmla="*/ 250127 h 6815328"/>
                <a:gd name="connsiteX21" fmla="*/ 1146048 w 3243072"/>
                <a:gd name="connsiteY21" fmla="*/ 243840 h 6815328"/>
                <a:gd name="connsiteX22" fmla="*/ 1146048 w 3243072"/>
                <a:gd name="connsiteY22" fmla="*/ 243840 h 6815328"/>
                <a:gd name="connsiteX23" fmla="*/ 1158240 w 3243072"/>
                <a:gd name="connsiteY23" fmla="*/ 134112 h 6815328"/>
                <a:gd name="connsiteX24" fmla="*/ 1231392 w 3243072"/>
                <a:gd name="connsiteY24" fmla="*/ 60960 h 6815328"/>
                <a:gd name="connsiteX25" fmla="*/ 1336358 w 3243072"/>
                <a:gd name="connsiteY25" fmla="*/ 43719 h 6815328"/>
                <a:gd name="connsiteX26" fmla="*/ 1377696 w 3243072"/>
                <a:gd name="connsiteY26" fmla="*/ 0 h 6815328"/>
                <a:gd name="connsiteX27" fmla="*/ 1511808 w 3243072"/>
                <a:gd name="connsiteY27" fmla="*/ 121920 h 6815328"/>
                <a:gd name="connsiteX28" fmla="*/ 1511808 w 3243072"/>
                <a:gd name="connsiteY28" fmla="*/ 121920 h 6815328"/>
                <a:gd name="connsiteX29" fmla="*/ 1633728 w 3243072"/>
                <a:gd name="connsiteY29" fmla="*/ 195072 h 6815328"/>
                <a:gd name="connsiteX30" fmla="*/ 1682496 w 3243072"/>
                <a:gd name="connsiteY30" fmla="*/ 158496 h 6815328"/>
                <a:gd name="connsiteX31" fmla="*/ 1755648 w 3243072"/>
                <a:gd name="connsiteY31" fmla="*/ 158496 h 6815328"/>
                <a:gd name="connsiteX32" fmla="*/ 1816608 w 3243072"/>
                <a:gd name="connsiteY32" fmla="*/ 207264 h 6815328"/>
                <a:gd name="connsiteX33" fmla="*/ 1889760 w 3243072"/>
                <a:gd name="connsiteY33" fmla="*/ 195072 h 6815328"/>
                <a:gd name="connsiteX34" fmla="*/ 1975104 w 3243072"/>
                <a:gd name="connsiteY34" fmla="*/ 256032 h 6815328"/>
                <a:gd name="connsiteX35" fmla="*/ 2036064 w 3243072"/>
                <a:gd name="connsiteY35" fmla="*/ 256032 h 6815328"/>
                <a:gd name="connsiteX36" fmla="*/ 1999488 w 3243072"/>
                <a:gd name="connsiteY36" fmla="*/ 365760 h 6815328"/>
                <a:gd name="connsiteX37" fmla="*/ 1938528 w 3243072"/>
                <a:gd name="connsiteY37" fmla="*/ 377952 h 6815328"/>
                <a:gd name="connsiteX38" fmla="*/ 1948624 w 3243072"/>
                <a:gd name="connsiteY38" fmla="*/ 492442 h 6815328"/>
                <a:gd name="connsiteX39" fmla="*/ 1999488 w 3243072"/>
                <a:gd name="connsiteY39" fmla="*/ 499872 h 6815328"/>
                <a:gd name="connsiteX40" fmla="*/ 1975104 w 3243072"/>
                <a:gd name="connsiteY40" fmla="*/ 609600 h 6815328"/>
                <a:gd name="connsiteX41" fmla="*/ 2023872 w 3243072"/>
                <a:gd name="connsiteY41" fmla="*/ 633984 h 6815328"/>
                <a:gd name="connsiteX42" fmla="*/ 2072640 w 3243072"/>
                <a:gd name="connsiteY42" fmla="*/ 621792 h 6815328"/>
                <a:gd name="connsiteX43" fmla="*/ 2121408 w 3243072"/>
                <a:gd name="connsiteY43" fmla="*/ 633984 h 6815328"/>
                <a:gd name="connsiteX44" fmla="*/ 2145792 w 3243072"/>
                <a:gd name="connsiteY44" fmla="*/ 719328 h 6815328"/>
                <a:gd name="connsiteX45" fmla="*/ 2145792 w 3243072"/>
                <a:gd name="connsiteY45" fmla="*/ 719328 h 6815328"/>
                <a:gd name="connsiteX46" fmla="*/ 2304288 w 3243072"/>
                <a:gd name="connsiteY46" fmla="*/ 743712 h 6815328"/>
                <a:gd name="connsiteX47" fmla="*/ 2326290 w 3243072"/>
                <a:gd name="connsiteY47" fmla="*/ 792195 h 6815328"/>
                <a:gd name="connsiteX48" fmla="*/ 2401824 w 3243072"/>
                <a:gd name="connsiteY48" fmla="*/ 768096 h 6815328"/>
                <a:gd name="connsiteX49" fmla="*/ 2452688 w 3243072"/>
                <a:gd name="connsiteY49" fmla="*/ 758571 h 6815328"/>
                <a:gd name="connsiteX50" fmla="*/ 2535936 w 3243072"/>
                <a:gd name="connsiteY50" fmla="*/ 829056 h 6815328"/>
                <a:gd name="connsiteX51" fmla="*/ 2523744 w 3243072"/>
                <a:gd name="connsiteY51" fmla="*/ 877824 h 6815328"/>
                <a:gd name="connsiteX52" fmla="*/ 2487168 w 3243072"/>
                <a:gd name="connsiteY52" fmla="*/ 877824 h 6815328"/>
                <a:gd name="connsiteX53" fmla="*/ 2426208 w 3243072"/>
                <a:gd name="connsiteY53" fmla="*/ 914400 h 6815328"/>
                <a:gd name="connsiteX54" fmla="*/ 2353056 w 3243072"/>
                <a:gd name="connsiteY54" fmla="*/ 963168 h 6815328"/>
                <a:gd name="connsiteX55" fmla="*/ 2316480 w 3243072"/>
                <a:gd name="connsiteY55" fmla="*/ 1036320 h 6815328"/>
                <a:gd name="connsiteX56" fmla="*/ 2255520 w 3243072"/>
                <a:gd name="connsiteY56" fmla="*/ 1097280 h 6815328"/>
                <a:gd name="connsiteX57" fmla="*/ 2255520 w 3243072"/>
                <a:gd name="connsiteY57" fmla="*/ 1097280 h 6815328"/>
                <a:gd name="connsiteX58" fmla="*/ 2097024 w 3243072"/>
                <a:gd name="connsiteY58" fmla="*/ 1121664 h 6815328"/>
                <a:gd name="connsiteX59" fmla="*/ 2011680 w 3243072"/>
                <a:gd name="connsiteY59" fmla="*/ 1158240 h 6815328"/>
                <a:gd name="connsiteX60" fmla="*/ 1999488 w 3243072"/>
                <a:gd name="connsiteY60" fmla="*/ 1219200 h 6815328"/>
                <a:gd name="connsiteX61" fmla="*/ 1975104 w 3243072"/>
                <a:gd name="connsiteY61" fmla="*/ 1280160 h 6815328"/>
                <a:gd name="connsiteX62" fmla="*/ 1938528 w 3243072"/>
                <a:gd name="connsiteY62" fmla="*/ 1389888 h 6815328"/>
                <a:gd name="connsiteX63" fmla="*/ 1901952 w 3243072"/>
                <a:gd name="connsiteY63" fmla="*/ 1426464 h 6815328"/>
                <a:gd name="connsiteX64" fmla="*/ 1853184 w 3243072"/>
                <a:gd name="connsiteY64" fmla="*/ 1499616 h 6815328"/>
                <a:gd name="connsiteX65" fmla="*/ 1853184 w 3243072"/>
                <a:gd name="connsiteY65" fmla="*/ 1499616 h 6815328"/>
                <a:gd name="connsiteX66" fmla="*/ 1792224 w 3243072"/>
                <a:gd name="connsiteY66" fmla="*/ 1487424 h 6815328"/>
                <a:gd name="connsiteX67" fmla="*/ 1743456 w 3243072"/>
                <a:gd name="connsiteY67" fmla="*/ 1572768 h 6815328"/>
                <a:gd name="connsiteX68" fmla="*/ 1670304 w 3243072"/>
                <a:gd name="connsiteY68" fmla="*/ 1560576 h 6815328"/>
                <a:gd name="connsiteX69" fmla="*/ 1633728 w 3243072"/>
                <a:gd name="connsiteY69" fmla="*/ 1706880 h 6815328"/>
                <a:gd name="connsiteX70" fmla="*/ 1584960 w 3243072"/>
                <a:gd name="connsiteY70" fmla="*/ 1780032 h 6815328"/>
                <a:gd name="connsiteX71" fmla="*/ 1609344 w 3243072"/>
                <a:gd name="connsiteY71" fmla="*/ 1865376 h 6815328"/>
                <a:gd name="connsiteX72" fmla="*/ 1584960 w 3243072"/>
                <a:gd name="connsiteY72" fmla="*/ 1926336 h 6815328"/>
                <a:gd name="connsiteX73" fmla="*/ 1572768 w 3243072"/>
                <a:gd name="connsiteY73" fmla="*/ 1987296 h 6815328"/>
                <a:gd name="connsiteX74" fmla="*/ 1524000 w 3243072"/>
                <a:gd name="connsiteY74" fmla="*/ 1999488 h 6815328"/>
                <a:gd name="connsiteX75" fmla="*/ 1560576 w 3243072"/>
                <a:gd name="connsiteY75" fmla="*/ 2097024 h 6815328"/>
                <a:gd name="connsiteX76" fmla="*/ 1645920 w 3243072"/>
                <a:gd name="connsiteY76" fmla="*/ 2231136 h 6815328"/>
                <a:gd name="connsiteX77" fmla="*/ 1645920 w 3243072"/>
                <a:gd name="connsiteY77" fmla="*/ 2231136 h 6815328"/>
                <a:gd name="connsiteX78" fmla="*/ 1767840 w 3243072"/>
                <a:gd name="connsiteY78" fmla="*/ 2328672 h 6815328"/>
                <a:gd name="connsiteX79" fmla="*/ 1816608 w 3243072"/>
                <a:gd name="connsiteY79" fmla="*/ 2414016 h 6815328"/>
                <a:gd name="connsiteX80" fmla="*/ 1865376 w 3243072"/>
                <a:gd name="connsiteY80" fmla="*/ 2377440 h 6815328"/>
                <a:gd name="connsiteX81" fmla="*/ 1926336 w 3243072"/>
                <a:gd name="connsiteY81" fmla="*/ 2462784 h 6815328"/>
                <a:gd name="connsiteX82" fmla="*/ 1901952 w 3243072"/>
                <a:gd name="connsiteY82" fmla="*/ 2535936 h 6815328"/>
                <a:gd name="connsiteX83" fmla="*/ 2036064 w 3243072"/>
                <a:gd name="connsiteY83" fmla="*/ 2779776 h 6815328"/>
                <a:gd name="connsiteX84" fmla="*/ 2157984 w 3243072"/>
                <a:gd name="connsiteY84" fmla="*/ 2877312 h 6815328"/>
                <a:gd name="connsiteX85" fmla="*/ 2279904 w 3243072"/>
                <a:gd name="connsiteY85" fmla="*/ 3023616 h 6815328"/>
                <a:gd name="connsiteX86" fmla="*/ 2328672 w 3243072"/>
                <a:gd name="connsiteY86" fmla="*/ 3096768 h 6815328"/>
                <a:gd name="connsiteX87" fmla="*/ 2487168 w 3243072"/>
                <a:gd name="connsiteY87" fmla="*/ 3169920 h 6815328"/>
                <a:gd name="connsiteX88" fmla="*/ 2511552 w 3243072"/>
                <a:gd name="connsiteY88" fmla="*/ 3267456 h 6815328"/>
                <a:gd name="connsiteX89" fmla="*/ 2511552 w 3243072"/>
                <a:gd name="connsiteY89" fmla="*/ 3267456 h 6815328"/>
                <a:gd name="connsiteX90" fmla="*/ 2596896 w 3243072"/>
                <a:gd name="connsiteY90" fmla="*/ 3206496 h 6815328"/>
                <a:gd name="connsiteX91" fmla="*/ 2609088 w 3243072"/>
                <a:gd name="connsiteY91" fmla="*/ 3279648 h 6815328"/>
                <a:gd name="connsiteX92" fmla="*/ 2657856 w 3243072"/>
                <a:gd name="connsiteY92" fmla="*/ 3279648 h 6815328"/>
                <a:gd name="connsiteX93" fmla="*/ 2645664 w 3243072"/>
                <a:gd name="connsiteY93" fmla="*/ 3328416 h 6815328"/>
                <a:gd name="connsiteX94" fmla="*/ 2779776 w 3243072"/>
                <a:gd name="connsiteY94" fmla="*/ 3425952 h 6815328"/>
                <a:gd name="connsiteX95" fmla="*/ 2816352 w 3243072"/>
                <a:gd name="connsiteY95" fmla="*/ 3547872 h 6815328"/>
                <a:gd name="connsiteX96" fmla="*/ 2877312 w 3243072"/>
                <a:gd name="connsiteY96" fmla="*/ 3621024 h 6815328"/>
                <a:gd name="connsiteX97" fmla="*/ 2926080 w 3243072"/>
                <a:gd name="connsiteY97" fmla="*/ 3645408 h 6815328"/>
                <a:gd name="connsiteX98" fmla="*/ 2926080 w 3243072"/>
                <a:gd name="connsiteY98" fmla="*/ 3645408 h 6815328"/>
                <a:gd name="connsiteX99" fmla="*/ 2987040 w 3243072"/>
                <a:gd name="connsiteY99" fmla="*/ 3767328 h 6815328"/>
                <a:gd name="connsiteX100" fmla="*/ 3011424 w 3243072"/>
                <a:gd name="connsiteY100" fmla="*/ 3864864 h 6815328"/>
                <a:gd name="connsiteX101" fmla="*/ 3060192 w 3243072"/>
                <a:gd name="connsiteY101" fmla="*/ 4011168 h 6815328"/>
                <a:gd name="connsiteX102" fmla="*/ 3096768 w 3243072"/>
                <a:gd name="connsiteY102" fmla="*/ 4157472 h 6815328"/>
                <a:gd name="connsiteX103" fmla="*/ 3133344 w 3243072"/>
                <a:gd name="connsiteY103" fmla="*/ 4291584 h 6815328"/>
                <a:gd name="connsiteX104" fmla="*/ 3169920 w 3243072"/>
                <a:gd name="connsiteY104" fmla="*/ 4389120 h 6815328"/>
                <a:gd name="connsiteX105" fmla="*/ 3133344 w 3243072"/>
                <a:gd name="connsiteY105" fmla="*/ 4437888 h 6815328"/>
                <a:gd name="connsiteX106" fmla="*/ 3133344 w 3243072"/>
                <a:gd name="connsiteY106" fmla="*/ 4498848 h 6815328"/>
                <a:gd name="connsiteX107" fmla="*/ 3133344 w 3243072"/>
                <a:gd name="connsiteY107" fmla="*/ 4498848 h 6815328"/>
                <a:gd name="connsiteX108" fmla="*/ 3133344 w 3243072"/>
                <a:gd name="connsiteY108" fmla="*/ 4498848 h 6815328"/>
                <a:gd name="connsiteX109" fmla="*/ 3169920 w 3243072"/>
                <a:gd name="connsiteY109" fmla="*/ 4608576 h 6815328"/>
                <a:gd name="connsiteX110" fmla="*/ 3194304 w 3243072"/>
                <a:gd name="connsiteY110" fmla="*/ 4706112 h 6815328"/>
                <a:gd name="connsiteX111" fmla="*/ 3243072 w 3243072"/>
                <a:gd name="connsiteY111" fmla="*/ 4779264 h 6815328"/>
                <a:gd name="connsiteX112" fmla="*/ 3194304 w 3243072"/>
                <a:gd name="connsiteY112" fmla="*/ 4852416 h 6815328"/>
                <a:gd name="connsiteX113" fmla="*/ 3194304 w 3243072"/>
                <a:gd name="connsiteY113" fmla="*/ 4852416 h 6815328"/>
                <a:gd name="connsiteX114" fmla="*/ 3169920 w 3243072"/>
                <a:gd name="connsiteY114" fmla="*/ 4986528 h 6815328"/>
                <a:gd name="connsiteX115" fmla="*/ 3169920 w 3243072"/>
                <a:gd name="connsiteY115" fmla="*/ 5047488 h 6815328"/>
                <a:gd name="connsiteX116" fmla="*/ 3145536 w 3243072"/>
                <a:gd name="connsiteY116" fmla="*/ 5047488 h 6815328"/>
                <a:gd name="connsiteX117" fmla="*/ 3182112 w 3243072"/>
                <a:gd name="connsiteY117" fmla="*/ 5132832 h 6815328"/>
                <a:gd name="connsiteX118" fmla="*/ 3133344 w 3243072"/>
                <a:gd name="connsiteY118" fmla="*/ 5157216 h 6815328"/>
                <a:gd name="connsiteX119" fmla="*/ 3133344 w 3243072"/>
                <a:gd name="connsiteY119" fmla="*/ 5157216 h 6815328"/>
                <a:gd name="connsiteX120" fmla="*/ 3133344 w 3243072"/>
                <a:gd name="connsiteY120" fmla="*/ 5327904 h 6815328"/>
                <a:gd name="connsiteX121" fmla="*/ 3096768 w 3243072"/>
                <a:gd name="connsiteY121" fmla="*/ 5437632 h 6815328"/>
                <a:gd name="connsiteX122" fmla="*/ 3048000 w 3243072"/>
                <a:gd name="connsiteY122" fmla="*/ 5437632 h 6815328"/>
                <a:gd name="connsiteX123" fmla="*/ 3048000 w 3243072"/>
                <a:gd name="connsiteY123" fmla="*/ 5437632 h 6815328"/>
                <a:gd name="connsiteX124" fmla="*/ 2926080 w 3243072"/>
                <a:gd name="connsiteY124" fmla="*/ 5535168 h 6815328"/>
                <a:gd name="connsiteX125" fmla="*/ 2889504 w 3243072"/>
                <a:gd name="connsiteY125" fmla="*/ 5608320 h 6815328"/>
                <a:gd name="connsiteX126" fmla="*/ 2816352 w 3243072"/>
                <a:gd name="connsiteY126" fmla="*/ 5620512 h 6815328"/>
                <a:gd name="connsiteX127" fmla="*/ 2791968 w 3243072"/>
                <a:gd name="connsiteY127" fmla="*/ 5657088 h 6815328"/>
                <a:gd name="connsiteX128" fmla="*/ 2694432 w 3243072"/>
                <a:gd name="connsiteY128" fmla="*/ 5669280 h 6815328"/>
                <a:gd name="connsiteX129" fmla="*/ 2682240 w 3243072"/>
                <a:gd name="connsiteY129" fmla="*/ 5718048 h 6815328"/>
                <a:gd name="connsiteX130" fmla="*/ 2633472 w 3243072"/>
                <a:gd name="connsiteY130" fmla="*/ 5766816 h 6815328"/>
                <a:gd name="connsiteX131" fmla="*/ 2633472 w 3243072"/>
                <a:gd name="connsiteY131" fmla="*/ 5766816 h 6815328"/>
                <a:gd name="connsiteX132" fmla="*/ 2438400 w 3243072"/>
                <a:gd name="connsiteY132" fmla="*/ 5815584 h 6815328"/>
                <a:gd name="connsiteX133" fmla="*/ 2316480 w 3243072"/>
                <a:gd name="connsiteY133" fmla="*/ 5925312 h 6815328"/>
                <a:gd name="connsiteX134" fmla="*/ 2231136 w 3243072"/>
                <a:gd name="connsiteY134" fmla="*/ 5998464 h 6815328"/>
                <a:gd name="connsiteX135" fmla="*/ 2072640 w 3243072"/>
                <a:gd name="connsiteY135" fmla="*/ 5974080 h 6815328"/>
                <a:gd name="connsiteX136" fmla="*/ 2023872 w 3243072"/>
                <a:gd name="connsiteY136" fmla="*/ 6035040 h 6815328"/>
                <a:gd name="connsiteX137" fmla="*/ 2048256 w 3243072"/>
                <a:gd name="connsiteY137" fmla="*/ 6083808 h 6815328"/>
                <a:gd name="connsiteX138" fmla="*/ 1999488 w 3243072"/>
                <a:gd name="connsiteY138" fmla="*/ 6132576 h 6815328"/>
                <a:gd name="connsiteX139" fmla="*/ 1987296 w 3243072"/>
                <a:gd name="connsiteY139" fmla="*/ 6230112 h 6815328"/>
                <a:gd name="connsiteX140" fmla="*/ 1950720 w 3243072"/>
                <a:gd name="connsiteY140" fmla="*/ 6266688 h 6815328"/>
                <a:gd name="connsiteX141" fmla="*/ 1938528 w 3243072"/>
                <a:gd name="connsiteY141" fmla="*/ 6339840 h 6815328"/>
                <a:gd name="connsiteX142" fmla="*/ 1865376 w 3243072"/>
                <a:gd name="connsiteY142" fmla="*/ 6364224 h 6815328"/>
                <a:gd name="connsiteX143" fmla="*/ 1792224 w 3243072"/>
                <a:gd name="connsiteY143" fmla="*/ 6364224 h 6815328"/>
                <a:gd name="connsiteX144" fmla="*/ 1792224 w 3243072"/>
                <a:gd name="connsiteY144" fmla="*/ 6364224 h 6815328"/>
                <a:gd name="connsiteX145" fmla="*/ 1767840 w 3243072"/>
                <a:gd name="connsiteY145" fmla="*/ 6449568 h 6815328"/>
                <a:gd name="connsiteX146" fmla="*/ 1463040 w 3243072"/>
                <a:gd name="connsiteY146" fmla="*/ 6522720 h 6815328"/>
                <a:gd name="connsiteX147" fmla="*/ 1353312 w 3243072"/>
                <a:gd name="connsiteY147" fmla="*/ 6693408 h 6815328"/>
                <a:gd name="connsiteX148" fmla="*/ 1280160 w 3243072"/>
                <a:gd name="connsiteY148" fmla="*/ 6754368 h 6815328"/>
                <a:gd name="connsiteX149" fmla="*/ 1182624 w 3243072"/>
                <a:gd name="connsiteY149" fmla="*/ 6815328 h 6815328"/>
                <a:gd name="connsiteX150" fmla="*/ 1097280 w 3243072"/>
                <a:gd name="connsiteY150" fmla="*/ 6754368 h 6815328"/>
                <a:gd name="connsiteX151" fmla="*/ 1146048 w 3243072"/>
                <a:gd name="connsiteY151" fmla="*/ 6729984 h 6815328"/>
                <a:gd name="connsiteX152" fmla="*/ 1146048 w 3243072"/>
                <a:gd name="connsiteY152" fmla="*/ 6729984 h 6815328"/>
                <a:gd name="connsiteX153" fmla="*/ 1133856 w 3243072"/>
                <a:gd name="connsiteY153" fmla="*/ 6266688 h 6815328"/>
                <a:gd name="connsiteX154" fmla="*/ 1133856 w 3243072"/>
                <a:gd name="connsiteY154" fmla="*/ 6266688 h 6815328"/>
                <a:gd name="connsiteX155" fmla="*/ 1243584 w 3243072"/>
                <a:gd name="connsiteY155" fmla="*/ 6169152 h 6815328"/>
                <a:gd name="connsiteX156" fmla="*/ 1182624 w 3243072"/>
                <a:gd name="connsiteY156" fmla="*/ 6083808 h 6815328"/>
                <a:gd name="connsiteX157" fmla="*/ 1121664 w 3243072"/>
                <a:gd name="connsiteY157" fmla="*/ 6059424 h 6815328"/>
                <a:gd name="connsiteX158" fmla="*/ 999744 w 3243072"/>
                <a:gd name="connsiteY158" fmla="*/ 6059424 h 6815328"/>
                <a:gd name="connsiteX159" fmla="*/ 938784 w 3243072"/>
                <a:gd name="connsiteY159" fmla="*/ 5949696 h 6815328"/>
                <a:gd name="connsiteX160" fmla="*/ 1072896 w 3243072"/>
                <a:gd name="connsiteY160" fmla="*/ 5864352 h 6815328"/>
                <a:gd name="connsiteX161" fmla="*/ 1182624 w 3243072"/>
                <a:gd name="connsiteY161" fmla="*/ 5864352 h 6815328"/>
                <a:gd name="connsiteX162" fmla="*/ 1255776 w 3243072"/>
                <a:gd name="connsiteY162" fmla="*/ 5839968 h 6815328"/>
                <a:gd name="connsiteX163" fmla="*/ 1194816 w 3243072"/>
                <a:gd name="connsiteY163" fmla="*/ 5693664 h 6815328"/>
                <a:gd name="connsiteX164" fmla="*/ 1365504 w 3243072"/>
                <a:gd name="connsiteY164" fmla="*/ 5730240 h 6815328"/>
                <a:gd name="connsiteX165" fmla="*/ 1536192 w 3243072"/>
                <a:gd name="connsiteY165" fmla="*/ 5620512 h 6815328"/>
                <a:gd name="connsiteX166" fmla="*/ 1633728 w 3243072"/>
                <a:gd name="connsiteY166" fmla="*/ 5657088 h 6815328"/>
                <a:gd name="connsiteX167" fmla="*/ 1633728 w 3243072"/>
                <a:gd name="connsiteY167" fmla="*/ 5657088 h 6815328"/>
                <a:gd name="connsiteX168" fmla="*/ 1719072 w 3243072"/>
                <a:gd name="connsiteY168" fmla="*/ 5730240 h 6815328"/>
                <a:gd name="connsiteX169" fmla="*/ 1719072 w 3243072"/>
                <a:gd name="connsiteY169" fmla="*/ 5730240 h 6815328"/>
                <a:gd name="connsiteX170" fmla="*/ 1694688 w 3243072"/>
                <a:gd name="connsiteY170" fmla="*/ 5583936 h 6815328"/>
                <a:gd name="connsiteX171" fmla="*/ 1584960 w 3243072"/>
                <a:gd name="connsiteY171" fmla="*/ 5559552 h 6815328"/>
                <a:gd name="connsiteX172" fmla="*/ 1597152 w 3243072"/>
                <a:gd name="connsiteY172" fmla="*/ 5388864 h 6815328"/>
                <a:gd name="connsiteX173" fmla="*/ 1694688 w 3243072"/>
                <a:gd name="connsiteY173" fmla="*/ 5327904 h 6815328"/>
                <a:gd name="connsiteX174" fmla="*/ 1694688 w 3243072"/>
                <a:gd name="connsiteY174" fmla="*/ 5327904 h 6815328"/>
                <a:gd name="connsiteX175" fmla="*/ 1914144 w 3243072"/>
                <a:gd name="connsiteY175" fmla="*/ 5340096 h 6815328"/>
                <a:gd name="connsiteX176" fmla="*/ 1840992 w 3243072"/>
                <a:gd name="connsiteY176" fmla="*/ 5193792 h 6815328"/>
                <a:gd name="connsiteX177" fmla="*/ 2036064 w 3243072"/>
                <a:gd name="connsiteY177" fmla="*/ 5181600 h 6815328"/>
                <a:gd name="connsiteX178" fmla="*/ 2113407 w 3243072"/>
                <a:gd name="connsiteY178" fmla="*/ 5126259 h 6815328"/>
                <a:gd name="connsiteX179" fmla="*/ 2279904 w 3243072"/>
                <a:gd name="connsiteY179" fmla="*/ 5047488 h 6815328"/>
                <a:gd name="connsiteX180" fmla="*/ 2353056 w 3243072"/>
                <a:gd name="connsiteY180" fmla="*/ 5047488 h 6815328"/>
                <a:gd name="connsiteX181" fmla="*/ 2365248 w 3243072"/>
                <a:gd name="connsiteY181" fmla="*/ 4888992 h 6815328"/>
                <a:gd name="connsiteX182" fmla="*/ 2340864 w 3243072"/>
                <a:gd name="connsiteY182" fmla="*/ 4754880 h 6815328"/>
                <a:gd name="connsiteX183" fmla="*/ 2353056 w 3243072"/>
                <a:gd name="connsiteY183" fmla="*/ 4645152 h 6815328"/>
                <a:gd name="connsiteX184" fmla="*/ 2401824 w 3243072"/>
                <a:gd name="connsiteY184" fmla="*/ 4523232 h 6815328"/>
                <a:gd name="connsiteX185" fmla="*/ 2328672 w 3243072"/>
                <a:gd name="connsiteY185" fmla="*/ 4376928 h 6815328"/>
                <a:gd name="connsiteX186" fmla="*/ 2279904 w 3243072"/>
                <a:gd name="connsiteY186" fmla="*/ 4218432 h 6815328"/>
                <a:gd name="connsiteX187" fmla="*/ 2304288 w 3243072"/>
                <a:gd name="connsiteY187" fmla="*/ 4072128 h 6815328"/>
                <a:gd name="connsiteX188" fmla="*/ 2304288 w 3243072"/>
                <a:gd name="connsiteY188" fmla="*/ 4072128 h 6815328"/>
                <a:gd name="connsiteX189" fmla="*/ 2353056 w 3243072"/>
                <a:gd name="connsiteY189" fmla="*/ 3913632 h 6815328"/>
                <a:gd name="connsiteX190" fmla="*/ 2340864 w 3243072"/>
                <a:gd name="connsiteY190" fmla="*/ 3803904 h 6815328"/>
                <a:gd name="connsiteX191" fmla="*/ 2414016 w 3243072"/>
                <a:gd name="connsiteY191" fmla="*/ 3730752 h 6815328"/>
                <a:gd name="connsiteX192" fmla="*/ 2377440 w 3243072"/>
                <a:gd name="connsiteY192" fmla="*/ 3694176 h 6815328"/>
                <a:gd name="connsiteX193" fmla="*/ 2353056 w 3243072"/>
                <a:gd name="connsiteY193" fmla="*/ 3621024 h 6815328"/>
                <a:gd name="connsiteX194" fmla="*/ 2292096 w 3243072"/>
                <a:gd name="connsiteY194" fmla="*/ 3621024 h 6815328"/>
                <a:gd name="connsiteX195" fmla="*/ 2218944 w 3243072"/>
                <a:gd name="connsiteY195" fmla="*/ 3560064 h 6815328"/>
                <a:gd name="connsiteX196" fmla="*/ 2157984 w 3243072"/>
                <a:gd name="connsiteY196" fmla="*/ 3499104 h 6815328"/>
                <a:gd name="connsiteX197" fmla="*/ 2157984 w 3243072"/>
                <a:gd name="connsiteY197" fmla="*/ 3499104 h 6815328"/>
                <a:gd name="connsiteX198" fmla="*/ 2292096 w 3243072"/>
                <a:gd name="connsiteY198" fmla="*/ 3364992 h 6815328"/>
                <a:gd name="connsiteX199" fmla="*/ 2182368 w 3243072"/>
                <a:gd name="connsiteY199" fmla="*/ 3304032 h 6815328"/>
                <a:gd name="connsiteX200" fmla="*/ 2182368 w 3243072"/>
                <a:gd name="connsiteY200" fmla="*/ 3304032 h 6815328"/>
                <a:gd name="connsiteX201" fmla="*/ 2121408 w 3243072"/>
                <a:gd name="connsiteY201" fmla="*/ 3279648 h 6815328"/>
                <a:gd name="connsiteX202" fmla="*/ 2036064 w 3243072"/>
                <a:gd name="connsiteY202" fmla="*/ 3145536 h 6815328"/>
                <a:gd name="connsiteX203" fmla="*/ 1987296 w 3243072"/>
                <a:gd name="connsiteY203" fmla="*/ 3218688 h 6815328"/>
                <a:gd name="connsiteX204" fmla="*/ 1950720 w 3243072"/>
                <a:gd name="connsiteY204" fmla="*/ 3096768 h 6815328"/>
                <a:gd name="connsiteX205" fmla="*/ 1877568 w 3243072"/>
                <a:gd name="connsiteY205" fmla="*/ 3023616 h 6815328"/>
                <a:gd name="connsiteX206" fmla="*/ 1901952 w 3243072"/>
                <a:gd name="connsiteY206" fmla="*/ 2913888 h 6815328"/>
                <a:gd name="connsiteX207" fmla="*/ 1816608 w 3243072"/>
                <a:gd name="connsiteY207" fmla="*/ 2852928 h 6815328"/>
                <a:gd name="connsiteX208" fmla="*/ 1804416 w 3243072"/>
                <a:gd name="connsiteY208" fmla="*/ 2779776 h 6815328"/>
                <a:gd name="connsiteX209" fmla="*/ 1560576 w 3243072"/>
                <a:gd name="connsiteY209" fmla="*/ 2621280 h 6815328"/>
                <a:gd name="connsiteX210" fmla="*/ 1463040 w 3243072"/>
                <a:gd name="connsiteY210" fmla="*/ 2499360 h 6815328"/>
                <a:gd name="connsiteX211" fmla="*/ 1511808 w 3243072"/>
                <a:gd name="connsiteY211" fmla="*/ 2474976 h 6815328"/>
                <a:gd name="connsiteX212" fmla="*/ 1438656 w 3243072"/>
                <a:gd name="connsiteY212" fmla="*/ 2365248 h 6815328"/>
                <a:gd name="connsiteX213" fmla="*/ 1438656 w 3243072"/>
                <a:gd name="connsiteY213" fmla="*/ 2365248 h 6815328"/>
                <a:gd name="connsiteX214" fmla="*/ 1267968 w 3243072"/>
                <a:gd name="connsiteY214" fmla="*/ 2231136 h 6815328"/>
                <a:gd name="connsiteX215" fmla="*/ 1316736 w 3243072"/>
                <a:gd name="connsiteY215" fmla="*/ 2157984 h 6815328"/>
                <a:gd name="connsiteX216" fmla="*/ 1231392 w 3243072"/>
                <a:gd name="connsiteY216" fmla="*/ 2133600 h 6815328"/>
                <a:gd name="connsiteX217" fmla="*/ 1158240 w 3243072"/>
                <a:gd name="connsiteY217" fmla="*/ 2109216 h 6815328"/>
                <a:gd name="connsiteX218" fmla="*/ 1072896 w 3243072"/>
                <a:gd name="connsiteY218" fmla="*/ 2084832 h 6815328"/>
                <a:gd name="connsiteX219" fmla="*/ 1011936 w 3243072"/>
                <a:gd name="connsiteY219" fmla="*/ 2072640 h 6815328"/>
                <a:gd name="connsiteX220" fmla="*/ 1024128 w 3243072"/>
                <a:gd name="connsiteY220" fmla="*/ 1987296 h 6815328"/>
                <a:gd name="connsiteX221" fmla="*/ 975360 w 3243072"/>
                <a:gd name="connsiteY221" fmla="*/ 1999488 h 6815328"/>
                <a:gd name="connsiteX222" fmla="*/ 902208 w 3243072"/>
                <a:gd name="connsiteY222" fmla="*/ 1962912 h 6815328"/>
                <a:gd name="connsiteX223" fmla="*/ 902208 w 3243072"/>
                <a:gd name="connsiteY223" fmla="*/ 1962912 h 6815328"/>
                <a:gd name="connsiteX224" fmla="*/ 841248 w 3243072"/>
                <a:gd name="connsiteY224" fmla="*/ 1926336 h 6815328"/>
                <a:gd name="connsiteX225" fmla="*/ 743712 w 3243072"/>
                <a:gd name="connsiteY225" fmla="*/ 1889760 h 6815328"/>
                <a:gd name="connsiteX226" fmla="*/ 743712 w 3243072"/>
                <a:gd name="connsiteY226" fmla="*/ 1804416 h 6815328"/>
                <a:gd name="connsiteX227" fmla="*/ 829056 w 3243072"/>
                <a:gd name="connsiteY227" fmla="*/ 1767840 h 6815328"/>
                <a:gd name="connsiteX228" fmla="*/ 792480 w 3243072"/>
                <a:gd name="connsiteY228" fmla="*/ 1682496 h 6815328"/>
                <a:gd name="connsiteX229" fmla="*/ 792480 w 3243072"/>
                <a:gd name="connsiteY229" fmla="*/ 1682496 h 6815328"/>
                <a:gd name="connsiteX230" fmla="*/ 914400 w 3243072"/>
                <a:gd name="connsiteY230" fmla="*/ 1670304 h 6815328"/>
                <a:gd name="connsiteX231" fmla="*/ 1011936 w 3243072"/>
                <a:gd name="connsiteY231" fmla="*/ 1682496 h 6815328"/>
                <a:gd name="connsiteX232" fmla="*/ 1024128 w 3243072"/>
                <a:gd name="connsiteY232" fmla="*/ 1645920 h 6815328"/>
                <a:gd name="connsiteX233" fmla="*/ 1060704 w 3243072"/>
                <a:gd name="connsiteY233" fmla="*/ 1719072 h 6815328"/>
                <a:gd name="connsiteX234" fmla="*/ 1194816 w 3243072"/>
                <a:gd name="connsiteY234" fmla="*/ 1609344 h 6815328"/>
                <a:gd name="connsiteX235" fmla="*/ 1158240 w 3243072"/>
                <a:gd name="connsiteY235" fmla="*/ 1597152 h 6815328"/>
                <a:gd name="connsiteX236" fmla="*/ 1182624 w 3243072"/>
                <a:gd name="connsiteY236" fmla="*/ 1511808 h 6815328"/>
                <a:gd name="connsiteX237" fmla="*/ 1182624 w 3243072"/>
                <a:gd name="connsiteY237" fmla="*/ 1511808 h 6815328"/>
                <a:gd name="connsiteX238" fmla="*/ 1072896 w 3243072"/>
                <a:gd name="connsiteY238" fmla="*/ 1450848 h 6815328"/>
                <a:gd name="connsiteX239" fmla="*/ 1072896 w 3243072"/>
                <a:gd name="connsiteY239" fmla="*/ 1353312 h 6815328"/>
                <a:gd name="connsiteX240" fmla="*/ 963168 w 3243072"/>
                <a:gd name="connsiteY240" fmla="*/ 1353312 h 6815328"/>
                <a:gd name="connsiteX241" fmla="*/ 972693 w 3243072"/>
                <a:gd name="connsiteY241" fmla="*/ 1329500 h 6815328"/>
                <a:gd name="connsiteX242" fmla="*/ 1048512 w 3243072"/>
                <a:gd name="connsiteY242" fmla="*/ 1243584 h 6815328"/>
                <a:gd name="connsiteX243" fmla="*/ 1024128 w 3243072"/>
                <a:gd name="connsiteY243" fmla="*/ 1182624 h 6815328"/>
                <a:gd name="connsiteX244" fmla="*/ 975360 w 3243072"/>
                <a:gd name="connsiteY244" fmla="*/ 1182624 h 6815328"/>
                <a:gd name="connsiteX245" fmla="*/ 890016 w 3243072"/>
                <a:gd name="connsiteY245" fmla="*/ 1121664 h 6815328"/>
                <a:gd name="connsiteX246" fmla="*/ 816864 w 3243072"/>
                <a:gd name="connsiteY246" fmla="*/ 1121664 h 6815328"/>
                <a:gd name="connsiteX247" fmla="*/ 719328 w 3243072"/>
                <a:gd name="connsiteY247" fmla="*/ 1158240 h 6815328"/>
                <a:gd name="connsiteX248" fmla="*/ 694944 w 3243072"/>
                <a:gd name="connsiteY248" fmla="*/ 1255776 h 6815328"/>
                <a:gd name="connsiteX249" fmla="*/ 609600 w 3243072"/>
                <a:gd name="connsiteY249" fmla="*/ 1182624 h 6815328"/>
                <a:gd name="connsiteX250" fmla="*/ 560832 w 3243072"/>
                <a:gd name="connsiteY250" fmla="*/ 1207008 h 6815328"/>
                <a:gd name="connsiteX251" fmla="*/ 463296 w 3243072"/>
                <a:gd name="connsiteY251" fmla="*/ 1158240 h 6815328"/>
                <a:gd name="connsiteX252" fmla="*/ 463296 w 3243072"/>
                <a:gd name="connsiteY252" fmla="*/ 1158240 h 6815328"/>
                <a:gd name="connsiteX253" fmla="*/ 390144 w 3243072"/>
                <a:gd name="connsiteY253" fmla="*/ 1085088 h 6815328"/>
                <a:gd name="connsiteX254" fmla="*/ 390144 w 3243072"/>
                <a:gd name="connsiteY254" fmla="*/ 1085088 h 6815328"/>
                <a:gd name="connsiteX255" fmla="*/ 304800 w 3243072"/>
                <a:gd name="connsiteY255" fmla="*/ 975360 h 6815328"/>
                <a:gd name="connsiteX256" fmla="*/ 341376 w 3243072"/>
                <a:gd name="connsiteY256" fmla="*/ 914400 h 6815328"/>
                <a:gd name="connsiteX257" fmla="*/ 329184 w 3243072"/>
                <a:gd name="connsiteY257" fmla="*/ 865632 h 6815328"/>
                <a:gd name="connsiteX258" fmla="*/ 365760 w 3243072"/>
                <a:gd name="connsiteY258" fmla="*/ 816864 h 6815328"/>
                <a:gd name="connsiteX259" fmla="*/ 365760 w 3243072"/>
                <a:gd name="connsiteY259" fmla="*/ 731520 h 6815328"/>
                <a:gd name="connsiteX260" fmla="*/ 280416 w 3243072"/>
                <a:gd name="connsiteY260" fmla="*/ 804672 h 6815328"/>
                <a:gd name="connsiteX261" fmla="*/ 207264 w 3243072"/>
                <a:gd name="connsiteY261" fmla="*/ 682752 h 6815328"/>
                <a:gd name="connsiteX262" fmla="*/ 158496 w 3243072"/>
                <a:gd name="connsiteY262" fmla="*/ 597408 h 6815328"/>
                <a:gd name="connsiteX263" fmla="*/ 109728 w 3243072"/>
                <a:gd name="connsiteY263" fmla="*/ 524256 h 6815328"/>
                <a:gd name="connsiteX264" fmla="*/ 48768 w 3243072"/>
                <a:gd name="connsiteY264" fmla="*/ 524256 h 6815328"/>
                <a:gd name="connsiteX265" fmla="*/ 0 w 3243072"/>
                <a:gd name="connsiteY265" fmla="*/ 390144 h 6815328"/>
                <a:gd name="connsiteX0" fmla="*/ 0 w 3214497"/>
                <a:gd name="connsiteY0" fmla="*/ 406813 h 6815328"/>
                <a:gd name="connsiteX1" fmla="*/ 44577 w 3214497"/>
                <a:gd name="connsiteY1" fmla="*/ 390144 h 6815328"/>
                <a:gd name="connsiteX2" fmla="*/ 101727 w 3214497"/>
                <a:gd name="connsiteY2" fmla="*/ 373475 h 6815328"/>
                <a:gd name="connsiteX3" fmla="*/ 93345 w 3214497"/>
                <a:gd name="connsiteY3" fmla="*/ 292608 h 6815328"/>
                <a:gd name="connsiteX4" fmla="*/ 93345 w 3214497"/>
                <a:gd name="connsiteY4" fmla="*/ 292608 h 6815328"/>
                <a:gd name="connsiteX5" fmla="*/ 166497 w 3214497"/>
                <a:gd name="connsiteY5" fmla="*/ 256032 h 6815328"/>
                <a:gd name="connsiteX6" fmla="*/ 215265 w 3214497"/>
                <a:gd name="connsiteY6" fmla="*/ 268224 h 6815328"/>
                <a:gd name="connsiteX7" fmla="*/ 324993 w 3214497"/>
                <a:gd name="connsiteY7" fmla="*/ 341376 h 6815328"/>
                <a:gd name="connsiteX8" fmla="*/ 349377 w 3214497"/>
                <a:gd name="connsiteY8" fmla="*/ 414528 h 6815328"/>
                <a:gd name="connsiteX9" fmla="*/ 422529 w 3214497"/>
                <a:gd name="connsiteY9" fmla="*/ 402336 h 6815328"/>
                <a:gd name="connsiteX10" fmla="*/ 434721 w 3214497"/>
                <a:gd name="connsiteY10" fmla="*/ 329184 h 6815328"/>
                <a:gd name="connsiteX11" fmla="*/ 434721 w 3214497"/>
                <a:gd name="connsiteY11" fmla="*/ 329184 h 6815328"/>
                <a:gd name="connsiteX12" fmla="*/ 507873 w 3214497"/>
                <a:gd name="connsiteY12" fmla="*/ 219456 h 6815328"/>
                <a:gd name="connsiteX13" fmla="*/ 593217 w 3214497"/>
                <a:gd name="connsiteY13" fmla="*/ 329184 h 6815328"/>
                <a:gd name="connsiteX14" fmla="*/ 617601 w 3214497"/>
                <a:gd name="connsiteY14" fmla="*/ 231648 h 6815328"/>
                <a:gd name="connsiteX15" fmla="*/ 776097 w 3214497"/>
                <a:gd name="connsiteY15" fmla="*/ 365760 h 6815328"/>
                <a:gd name="connsiteX16" fmla="*/ 849249 w 3214497"/>
                <a:gd name="connsiteY16" fmla="*/ 219456 h 6815328"/>
                <a:gd name="connsiteX17" fmla="*/ 892969 w 3214497"/>
                <a:gd name="connsiteY17" fmla="*/ 204883 h 6815328"/>
                <a:gd name="connsiteX18" fmla="*/ 922401 w 3214497"/>
                <a:gd name="connsiteY18" fmla="*/ 304800 h 6815328"/>
                <a:gd name="connsiteX19" fmla="*/ 1068705 w 3214497"/>
                <a:gd name="connsiteY19" fmla="*/ 219456 h 6815328"/>
                <a:gd name="connsiteX20" fmla="*/ 1099471 w 3214497"/>
                <a:gd name="connsiteY20" fmla="*/ 250127 h 6815328"/>
                <a:gd name="connsiteX21" fmla="*/ 1117473 w 3214497"/>
                <a:gd name="connsiteY21" fmla="*/ 243840 h 6815328"/>
                <a:gd name="connsiteX22" fmla="*/ 1117473 w 3214497"/>
                <a:gd name="connsiteY22" fmla="*/ 243840 h 6815328"/>
                <a:gd name="connsiteX23" fmla="*/ 1129665 w 3214497"/>
                <a:gd name="connsiteY23" fmla="*/ 134112 h 6815328"/>
                <a:gd name="connsiteX24" fmla="*/ 1202817 w 3214497"/>
                <a:gd name="connsiteY24" fmla="*/ 60960 h 6815328"/>
                <a:gd name="connsiteX25" fmla="*/ 1307783 w 3214497"/>
                <a:gd name="connsiteY25" fmla="*/ 43719 h 6815328"/>
                <a:gd name="connsiteX26" fmla="*/ 1349121 w 3214497"/>
                <a:gd name="connsiteY26" fmla="*/ 0 h 6815328"/>
                <a:gd name="connsiteX27" fmla="*/ 1483233 w 3214497"/>
                <a:gd name="connsiteY27" fmla="*/ 121920 h 6815328"/>
                <a:gd name="connsiteX28" fmla="*/ 1483233 w 3214497"/>
                <a:gd name="connsiteY28" fmla="*/ 121920 h 6815328"/>
                <a:gd name="connsiteX29" fmla="*/ 1605153 w 3214497"/>
                <a:gd name="connsiteY29" fmla="*/ 195072 h 6815328"/>
                <a:gd name="connsiteX30" fmla="*/ 1653921 w 3214497"/>
                <a:gd name="connsiteY30" fmla="*/ 158496 h 6815328"/>
                <a:gd name="connsiteX31" fmla="*/ 1727073 w 3214497"/>
                <a:gd name="connsiteY31" fmla="*/ 158496 h 6815328"/>
                <a:gd name="connsiteX32" fmla="*/ 1788033 w 3214497"/>
                <a:gd name="connsiteY32" fmla="*/ 207264 h 6815328"/>
                <a:gd name="connsiteX33" fmla="*/ 1861185 w 3214497"/>
                <a:gd name="connsiteY33" fmla="*/ 195072 h 6815328"/>
                <a:gd name="connsiteX34" fmla="*/ 1946529 w 3214497"/>
                <a:gd name="connsiteY34" fmla="*/ 256032 h 6815328"/>
                <a:gd name="connsiteX35" fmla="*/ 2007489 w 3214497"/>
                <a:gd name="connsiteY35" fmla="*/ 256032 h 6815328"/>
                <a:gd name="connsiteX36" fmla="*/ 1970913 w 3214497"/>
                <a:gd name="connsiteY36" fmla="*/ 365760 h 6815328"/>
                <a:gd name="connsiteX37" fmla="*/ 1909953 w 3214497"/>
                <a:gd name="connsiteY37" fmla="*/ 377952 h 6815328"/>
                <a:gd name="connsiteX38" fmla="*/ 1920049 w 3214497"/>
                <a:gd name="connsiteY38" fmla="*/ 492442 h 6815328"/>
                <a:gd name="connsiteX39" fmla="*/ 1970913 w 3214497"/>
                <a:gd name="connsiteY39" fmla="*/ 499872 h 6815328"/>
                <a:gd name="connsiteX40" fmla="*/ 1946529 w 3214497"/>
                <a:gd name="connsiteY40" fmla="*/ 609600 h 6815328"/>
                <a:gd name="connsiteX41" fmla="*/ 1995297 w 3214497"/>
                <a:gd name="connsiteY41" fmla="*/ 633984 h 6815328"/>
                <a:gd name="connsiteX42" fmla="*/ 2044065 w 3214497"/>
                <a:gd name="connsiteY42" fmla="*/ 621792 h 6815328"/>
                <a:gd name="connsiteX43" fmla="*/ 2092833 w 3214497"/>
                <a:gd name="connsiteY43" fmla="*/ 633984 h 6815328"/>
                <a:gd name="connsiteX44" fmla="*/ 2117217 w 3214497"/>
                <a:gd name="connsiteY44" fmla="*/ 719328 h 6815328"/>
                <a:gd name="connsiteX45" fmla="*/ 2117217 w 3214497"/>
                <a:gd name="connsiteY45" fmla="*/ 719328 h 6815328"/>
                <a:gd name="connsiteX46" fmla="*/ 2275713 w 3214497"/>
                <a:gd name="connsiteY46" fmla="*/ 743712 h 6815328"/>
                <a:gd name="connsiteX47" fmla="*/ 2297715 w 3214497"/>
                <a:gd name="connsiteY47" fmla="*/ 792195 h 6815328"/>
                <a:gd name="connsiteX48" fmla="*/ 2373249 w 3214497"/>
                <a:gd name="connsiteY48" fmla="*/ 768096 h 6815328"/>
                <a:gd name="connsiteX49" fmla="*/ 2424113 w 3214497"/>
                <a:gd name="connsiteY49" fmla="*/ 758571 h 6815328"/>
                <a:gd name="connsiteX50" fmla="*/ 2507361 w 3214497"/>
                <a:gd name="connsiteY50" fmla="*/ 829056 h 6815328"/>
                <a:gd name="connsiteX51" fmla="*/ 2495169 w 3214497"/>
                <a:gd name="connsiteY51" fmla="*/ 877824 h 6815328"/>
                <a:gd name="connsiteX52" fmla="*/ 2458593 w 3214497"/>
                <a:gd name="connsiteY52" fmla="*/ 877824 h 6815328"/>
                <a:gd name="connsiteX53" fmla="*/ 2397633 w 3214497"/>
                <a:gd name="connsiteY53" fmla="*/ 914400 h 6815328"/>
                <a:gd name="connsiteX54" fmla="*/ 2324481 w 3214497"/>
                <a:gd name="connsiteY54" fmla="*/ 963168 h 6815328"/>
                <a:gd name="connsiteX55" fmla="*/ 2287905 w 3214497"/>
                <a:gd name="connsiteY55" fmla="*/ 1036320 h 6815328"/>
                <a:gd name="connsiteX56" fmla="*/ 2226945 w 3214497"/>
                <a:gd name="connsiteY56" fmla="*/ 1097280 h 6815328"/>
                <a:gd name="connsiteX57" fmla="*/ 2226945 w 3214497"/>
                <a:gd name="connsiteY57" fmla="*/ 1097280 h 6815328"/>
                <a:gd name="connsiteX58" fmla="*/ 2068449 w 3214497"/>
                <a:gd name="connsiteY58" fmla="*/ 1121664 h 6815328"/>
                <a:gd name="connsiteX59" fmla="*/ 1983105 w 3214497"/>
                <a:gd name="connsiteY59" fmla="*/ 1158240 h 6815328"/>
                <a:gd name="connsiteX60" fmla="*/ 1970913 w 3214497"/>
                <a:gd name="connsiteY60" fmla="*/ 1219200 h 6815328"/>
                <a:gd name="connsiteX61" fmla="*/ 1946529 w 3214497"/>
                <a:gd name="connsiteY61" fmla="*/ 1280160 h 6815328"/>
                <a:gd name="connsiteX62" fmla="*/ 1909953 w 3214497"/>
                <a:gd name="connsiteY62" fmla="*/ 1389888 h 6815328"/>
                <a:gd name="connsiteX63" fmla="*/ 1873377 w 3214497"/>
                <a:gd name="connsiteY63" fmla="*/ 1426464 h 6815328"/>
                <a:gd name="connsiteX64" fmla="*/ 1824609 w 3214497"/>
                <a:gd name="connsiteY64" fmla="*/ 1499616 h 6815328"/>
                <a:gd name="connsiteX65" fmla="*/ 1824609 w 3214497"/>
                <a:gd name="connsiteY65" fmla="*/ 1499616 h 6815328"/>
                <a:gd name="connsiteX66" fmla="*/ 1763649 w 3214497"/>
                <a:gd name="connsiteY66" fmla="*/ 1487424 h 6815328"/>
                <a:gd name="connsiteX67" fmla="*/ 1714881 w 3214497"/>
                <a:gd name="connsiteY67" fmla="*/ 1572768 h 6815328"/>
                <a:gd name="connsiteX68" fmla="*/ 1641729 w 3214497"/>
                <a:gd name="connsiteY68" fmla="*/ 1560576 h 6815328"/>
                <a:gd name="connsiteX69" fmla="*/ 1605153 w 3214497"/>
                <a:gd name="connsiteY69" fmla="*/ 1706880 h 6815328"/>
                <a:gd name="connsiteX70" fmla="*/ 1556385 w 3214497"/>
                <a:gd name="connsiteY70" fmla="*/ 1780032 h 6815328"/>
                <a:gd name="connsiteX71" fmla="*/ 1580769 w 3214497"/>
                <a:gd name="connsiteY71" fmla="*/ 1865376 h 6815328"/>
                <a:gd name="connsiteX72" fmla="*/ 1556385 w 3214497"/>
                <a:gd name="connsiteY72" fmla="*/ 1926336 h 6815328"/>
                <a:gd name="connsiteX73" fmla="*/ 1544193 w 3214497"/>
                <a:gd name="connsiteY73" fmla="*/ 1987296 h 6815328"/>
                <a:gd name="connsiteX74" fmla="*/ 1495425 w 3214497"/>
                <a:gd name="connsiteY74" fmla="*/ 1999488 h 6815328"/>
                <a:gd name="connsiteX75" fmla="*/ 1532001 w 3214497"/>
                <a:gd name="connsiteY75" fmla="*/ 2097024 h 6815328"/>
                <a:gd name="connsiteX76" fmla="*/ 1617345 w 3214497"/>
                <a:gd name="connsiteY76" fmla="*/ 2231136 h 6815328"/>
                <a:gd name="connsiteX77" fmla="*/ 1617345 w 3214497"/>
                <a:gd name="connsiteY77" fmla="*/ 2231136 h 6815328"/>
                <a:gd name="connsiteX78" fmla="*/ 1739265 w 3214497"/>
                <a:gd name="connsiteY78" fmla="*/ 2328672 h 6815328"/>
                <a:gd name="connsiteX79" fmla="*/ 1788033 w 3214497"/>
                <a:gd name="connsiteY79" fmla="*/ 2414016 h 6815328"/>
                <a:gd name="connsiteX80" fmla="*/ 1836801 w 3214497"/>
                <a:gd name="connsiteY80" fmla="*/ 2377440 h 6815328"/>
                <a:gd name="connsiteX81" fmla="*/ 1897761 w 3214497"/>
                <a:gd name="connsiteY81" fmla="*/ 2462784 h 6815328"/>
                <a:gd name="connsiteX82" fmla="*/ 1873377 w 3214497"/>
                <a:gd name="connsiteY82" fmla="*/ 2535936 h 6815328"/>
                <a:gd name="connsiteX83" fmla="*/ 2007489 w 3214497"/>
                <a:gd name="connsiteY83" fmla="*/ 2779776 h 6815328"/>
                <a:gd name="connsiteX84" fmla="*/ 2129409 w 3214497"/>
                <a:gd name="connsiteY84" fmla="*/ 2877312 h 6815328"/>
                <a:gd name="connsiteX85" fmla="*/ 2251329 w 3214497"/>
                <a:gd name="connsiteY85" fmla="*/ 3023616 h 6815328"/>
                <a:gd name="connsiteX86" fmla="*/ 2300097 w 3214497"/>
                <a:gd name="connsiteY86" fmla="*/ 3096768 h 6815328"/>
                <a:gd name="connsiteX87" fmla="*/ 2458593 w 3214497"/>
                <a:gd name="connsiteY87" fmla="*/ 3169920 h 6815328"/>
                <a:gd name="connsiteX88" fmla="*/ 2482977 w 3214497"/>
                <a:gd name="connsiteY88" fmla="*/ 3267456 h 6815328"/>
                <a:gd name="connsiteX89" fmla="*/ 2482977 w 3214497"/>
                <a:gd name="connsiteY89" fmla="*/ 3267456 h 6815328"/>
                <a:gd name="connsiteX90" fmla="*/ 2568321 w 3214497"/>
                <a:gd name="connsiteY90" fmla="*/ 3206496 h 6815328"/>
                <a:gd name="connsiteX91" fmla="*/ 2580513 w 3214497"/>
                <a:gd name="connsiteY91" fmla="*/ 3279648 h 6815328"/>
                <a:gd name="connsiteX92" fmla="*/ 2629281 w 3214497"/>
                <a:gd name="connsiteY92" fmla="*/ 3279648 h 6815328"/>
                <a:gd name="connsiteX93" fmla="*/ 2617089 w 3214497"/>
                <a:gd name="connsiteY93" fmla="*/ 3328416 h 6815328"/>
                <a:gd name="connsiteX94" fmla="*/ 2751201 w 3214497"/>
                <a:gd name="connsiteY94" fmla="*/ 3425952 h 6815328"/>
                <a:gd name="connsiteX95" fmla="*/ 2787777 w 3214497"/>
                <a:gd name="connsiteY95" fmla="*/ 3547872 h 6815328"/>
                <a:gd name="connsiteX96" fmla="*/ 2848737 w 3214497"/>
                <a:gd name="connsiteY96" fmla="*/ 3621024 h 6815328"/>
                <a:gd name="connsiteX97" fmla="*/ 2897505 w 3214497"/>
                <a:gd name="connsiteY97" fmla="*/ 3645408 h 6815328"/>
                <a:gd name="connsiteX98" fmla="*/ 2897505 w 3214497"/>
                <a:gd name="connsiteY98" fmla="*/ 3645408 h 6815328"/>
                <a:gd name="connsiteX99" fmla="*/ 2958465 w 3214497"/>
                <a:gd name="connsiteY99" fmla="*/ 3767328 h 6815328"/>
                <a:gd name="connsiteX100" fmla="*/ 2982849 w 3214497"/>
                <a:gd name="connsiteY100" fmla="*/ 3864864 h 6815328"/>
                <a:gd name="connsiteX101" fmla="*/ 3031617 w 3214497"/>
                <a:gd name="connsiteY101" fmla="*/ 4011168 h 6815328"/>
                <a:gd name="connsiteX102" fmla="*/ 3068193 w 3214497"/>
                <a:gd name="connsiteY102" fmla="*/ 4157472 h 6815328"/>
                <a:gd name="connsiteX103" fmla="*/ 3104769 w 3214497"/>
                <a:gd name="connsiteY103" fmla="*/ 4291584 h 6815328"/>
                <a:gd name="connsiteX104" fmla="*/ 3141345 w 3214497"/>
                <a:gd name="connsiteY104" fmla="*/ 4389120 h 6815328"/>
                <a:gd name="connsiteX105" fmla="*/ 3104769 w 3214497"/>
                <a:gd name="connsiteY105" fmla="*/ 4437888 h 6815328"/>
                <a:gd name="connsiteX106" fmla="*/ 3104769 w 3214497"/>
                <a:gd name="connsiteY106" fmla="*/ 4498848 h 6815328"/>
                <a:gd name="connsiteX107" fmla="*/ 3104769 w 3214497"/>
                <a:gd name="connsiteY107" fmla="*/ 4498848 h 6815328"/>
                <a:gd name="connsiteX108" fmla="*/ 3104769 w 3214497"/>
                <a:gd name="connsiteY108" fmla="*/ 4498848 h 6815328"/>
                <a:gd name="connsiteX109" fmla="*/ 3141345 w 3214497"/>
                <a:gd name="connsiteY109" fmla="*/ 4608576 h 6815328"/>
                <a:gd name="connsiteX110" fmla="*/ 3165729 w 3214497"/>
                <a:gd name="connsiteY110" fmla="*/ 4706112 h 6815328"/>
                <a:gd name="connsiteX111" fmla="*/ 3214497 w 3214497"/>
                <a:gd name="connsiteY111" fmla="*/ 4779264 h 6815328"/>
                <a:gd name="connsiteX112" fmla="*/ 3165729 w 3214497"/>
                <a:gd name="connsiteY112" fmla="*/ 4852416 h 6815328"/>
                <a:gd name="connsiteX113" fmla="*/ 3165729 w 3214497"/>
                <a:gd name="connsiteY113" fmla="*/ 4852416 h 6815328"/>
                <a:gd name="connsiteX114" fmla="*/ 3141345 w 3214497"/>
                <a:gd name="connsiteY114" fmla="*/ 4986528 h 6815328"/>
                <a:gd name="connsiteX115" fmla="*/ 3141345 w 3214497"/>
                <a:gd name="connsiteY115" fmla="*/ 5047488 h 6815328"/>
                <a:gd name="connsiteX116" fmla="*/ 3116961 w 3214497"/>
                <a:gd name="connsiteY116" fmla="*/ 5047488 h 6815328"/>
                <a:gd name="connsiteX117" fmla="*/ 3153537 w 3214497"/>
                <a:gd name="connsiteY117" fmla="*/ 5132832 h 6815328"/>
                <a:gd name="connsiteX118" fmla="*/ 3104769 w 3214497"/>
                <a:gd name="connsiteY118" fmla="*/ 5157216 h 6815328"/>
                <a:gd name="connsiteX119" fmla="*/ 3104769 w 3214497"/>
                <a:gd name="connsiteY119" fmla="*/ 5157216 h 6815328"/>
                <a:gd name="connsiteX120" fmla="*/ 3104769 w 3214497"/>
                <a:gd name="connsiteY120" fmla="*/ 5327904 h 6815328"/>
                <a:gd name="connsiteX121" fmla="*/ 3068193 w 3214497"/>
                <a:gd name="connsiteY121" fmla="*/ 5437632 h 6815328"/>
                <a:gd name="connsiteX122" fmla="*/ 3019425 w 3214497"/>
                <a:gd name="connsiteY122" fmla="*/ 5437632 h 6815328"/>
                <a:gd name="connsiteX123" fmla="*/ 3019425 w 3214497"/>
                <a:gd name="connsiteY123" fmla="*/ 5437632 h 6815328"/>
                <a:gd name="connsiteX124" fmla="*/ 2897505 w 3214497"/>
                <a:gd name="connsiteY124" fmla="*/ 5535168 h 6815328"/>
                <a:gd name="connsiteX125" fmla="*/ 2860929 w 3214497"/>
                <a:gd name="connsiteY125" fmla="*/ 5608320 h 6815328"/>
                <a:gd name="connsiteX126" fmla="*/ 2787777 w 3214497"/>
                <a:gd name="connsiteY126" fmla="*/ 5620512 h 6815328"/>
                <a:gd name="connsiteX127" fmla="*/ 2763393 w 3214497"/>
                <a:gd name="connsiteY127" fmla="*/ 5657088 h 6815328"/>
                <a:gd name="connsiteX128" fmla="*/ 2665857 w 3214497"/>
                <a:gd name="connsiteY128" fmla="*/ 5669280 h 6815328"/>
                <a:gd name="connsiteX129" fmla="*/ 2653665 w 3214497"/>
                <a:gd name="connsiteY129" fmla="*/ 5718048 h 6815328"/>
                <a:gd name="connsiteX130" fmla="*/ 2604897 w 3214497"/>
                <a:gd name="connsiteY130" fmla="*/ 5766816 h 6815328"/>
                <a:gd name="connsiteX131" fmla="*/ 2604897 w 3214497"/>
                <a:gd name="connsiteY131" fmla="*/ 5766816 h 6815328"/>
                <a:gd name="connsiteX132" fmla="*/ 2409825 w 3214497"/>
                <a:gd name="connsiteY132" fmla="*/ 5815584 h 6815328"/>
                <a:gd name="connsiteX133" fmla="*/ 2287905 w 3214497"/>
                <a:gd name="connsiteY133" fmla="*/ 5925312 h 6815328"/>
                <a:gd name="connsiteX134" fmla="*/ 2202561 w 3214497"/>
                <a:gd name="connsiteY134" fmla="*/ 5998464 h 6815328"/>
                <a:gd name="connsiteX135" fmla="*/ 2044065 w 3214497"/>
                <a:gd name="connsiteY135" fmla="*/ 5974080 h 6815328"/>
                <a:gd name="connsiteX136" fmla="*/ 1995297 w 3214497"/>
                <a:gd name="connsiteY136" fmla="*/ 6035040 h 6815328"/>
                <a:gd name="connsiteX137" fmla="*/ 2019681 w 3214497"/>
                <a:gd name="connsiteY137" fmla="*/ 6083808 h 6815328"/>
                <a:gd name="connsiteX138" fmla="*/ 1970913 w 3214497"/>
                <a:gd name="connsiteY138" fmla="*/ 6132576 h 6815328"/>
                <a:gd name="connsiteX139" fmla="*/ 1958721 w 3214497"/>
                <a:gd name="connsiteY139" fmla="*/ 6230112 h 6815328"/>
                <a:gd name="connsiteX140" fmla="*/ 1922145 w 3214497"/>
                <a:gd name="connsiteY140" fmla="*/ 6266688 h 6815328"/>
                <a:gd name="connsiteX141" fmla="*/ 1909953 w 3214497"/>
                <a:gd name="connsiteY141" fmla="*/ 6339840 h 6815328"/>
                <a:gd name="connsiteX142" fmla="*/ 1836801 w 3214497"/>
                <a:gd name="connsiteY142" fmla="*/ 6364224 h 6815328"/>
                <a:gd name="connsiteX143" fmla="*/ 1763649 w 3214497"/>
                <a:gd name="connsiteY143" fmla="*/ 6364224 h 6815328"/>
                <a:gd name="connsiteX144" fmla="*/ 1763649 w 3214497"/>
                <a:gd name="connsiteY144" fmla="*/ 6364224 h 6815328"/>
                <a:gd name="connsiteX145" fmla="*/ 1739265 w 3214497"/>
                <a:gd name="connsiteY145" fmla="*/ 6449568 h 6815328"/>
                <a:gd name="connsiteX146" fmla="*/ 1434465 w 3214497"/>
                <a:gd name="connsiteY146" fmla="*/ 6522720 h 6815328"/>
                <a:gd name="connsiteX147" fmla="*/ 1324737 w 3214497"/>
                <a:gd name="connsiteY147" fmla="*/ 6693408 h 6815328"/>
                <a:gd name="connsiteX148" fmla="*/ 1251585 w 3214497"/>
                <a:gd name="connsiteY148" fmla="*/ 6754368 h 6815328"/>
                <a:gd name="connsiteX149" fmla="*/ 1154049 w 3214497"/>
                <a:gd name="connsiteY149" fmla="*/ 6815328 h 6815328"/>
                <a:gd name="connsiteX150" fmla="*/ 1068705 w 3214497"/>
                <a:gd name="connsiteY150" fmla="*/ 6754368 h 6815328"/>
                <a:gd name="connsiteX151" fmla="*/ 1117473 w 3214497"/>
                <a:gd name="connsiteY151" fmla="*/ 6729984 h 6815328"/>
                <a:gd name="connsiteX152" fmla="*/ 1117473 w 3214497"/>
                <a:gd name="connsiteY152" fmla="*/ 6729984 h 6815328"/>
                <a:gd name="connsiteX153" fmla="*/ 1105281 w 3214497"/>
                <a:gd name="connsiteY153" fmla="*/ 6266688 h 6815328"/>
                <a:gd name="connsiteX154" fmla="*/ 1105281 w 3214497"/>
                <a:gd name="connsiteY154" fmla="*/ 6266688 h 6815328"/>
                <a:gd name="connsiteX155" fmla="*/ 1215009 w 3214497"/>
                <a:gd name="connsiteY155" fmla="*/ 6169152 h 6815328"/>
                <a:gd name="connsiteX156" fmla="*/ 1154049 w 3214497"/>
                <a:gd name="connsiteY156" fmla="*/ 6083808 h 6815328"/>
                <a:gd name="connsiteX157" fmla="*/ 1093089 w 3214497"/>
                <a:gd name="connsiteY157" fmla="*/ 6059424 h 6815328"/>
                <a:gd name="connsiteX158" fmla="*/ 971169 w 3214497"/>
                <a:gd name="connsiteY158" fmla="*/ 6059424 h 6815328"/>
                <a:gd name="connsiteX159" fmla="*/ 910209 w 3214497"/>
                <a:gd name="connsiteY159" fmla="*/ 5949696 h 6815328"/>
                <a:gd name="connsiteX160" fmla="*/ 1044321 w 3214497"/>
                <a:gd name="connsiteY160" fmla="*/ 5864352 h 6815328"/>
                <a:gd name="connsiteX161" fmla="*/ 1154049 w 3214497"/>
                <a:gd name="connsiteY161" fmla="*/ 5864352 h 6815328"/>
                <a:gd name="connsiteX162" fmla="*/ 1227201 w 3214497"/>
                <a:gd name="connsiteY162" fmla="*/ 5839968 h 6815328"/>
                <a:gd name="connsiteX163" fmla="*/ 1166241 w 3214497"/>
                <a:gd name="connsiteY163" fmla="*/ 5693664 h 6815328"/>
                <a:gd name="connsiteX164" fmla="*/ 1336929 w 3214497"/>
                <a:gd name="connsiteY164" fmla="*/ 5730240 h 6815328"/>
                <a:gd name="connsiteX165" fmla="*/ 1507617 w 3214497"/>
                <a:gd name="connsiteY165" fmla="*/ 5620512 h 6815328"/>
                <a:gd name="connsiteX166" fmla="*/ 1605153 w 3214497"/>
                <a:gd name="connsiteY166" fmla="*/ 5657088 h 6815328"/>
                <a:gd name="connsiteX167" fmla="*/ 1605153 w 3214497"/>
                <a:gd name="connsiteY167" fmla="*/ 5657088 h 6815328"/>
                <a:gd name="connsiteX168" fmla="*/ 1690497 w 3214497"/>
                <a:gd name="connsiteY168" fmla="*/ 5730240 h 6815328"/>
                <a:gd name="connsiteX169" fmla="*/ 1690497 w 3214497"/>
                <a:gd name="connsiteY169" fmla="*/ 5730240 h 6815328"/>
                <a:gd name="connsiteX170" fmla="*/ 1666113 w 3214497"/>
                <a:gd name="connsiteY170" fmla="*/ 5583936 h 6815328"/>
                <a:gd name="connsiteX171" fmla="*/ 1556385 w 3214497"/>
                <a:gd name="connsiteY171" fmla="*/ 5559552 h 6815328"/>
                <a:gd name="connsiteX172" fmla="*/ 1568577 w 3214497"/>
                <a:gd name="connsiteY172" fmla="*/ 5388864 h 6815328"/>
                <a:gd name="connsiteX173" fmla="*/ 1666113 w 3214497"/>
                <a:gd name="connsiteY173" fmla="*/ 5327904 h 6815328"/>
                <a:gd name="connsiteX174" fmla="*/ 1666113 w 3214497"/>
                <a:gd name="connsiteY174" fmla="*/ 5327904 h 6815328"/>
                <a:gd name="connsiteX175" fmla="*/ 1885569 w 3214497"/>
                <a:gd name="connsiteY175" fmla="*/ 5340096 h 6815328"/>
                <a:gd name="connsiteX176" fmla="*/ 1812417 w 3214497"/>
                <a:gd name="connsiteY176" fmla="*/ 5193792 h 6815328"/>
                <a:gd name="connsiteX177" fmla="*/ 2007489 w 3214497"/>
                <a:gd name="connsiteY177" fmla="*/ 5181600 h 6815328"/>
                <a:gd name="connsiteX178" fmla="*/ 2084832 w 3214497"/>
                <a:gd name="connsiteY178" fmla="*/ 5126259 h 6815328"/>
                <a:gd name="connsiteX179" fmla="*/ 2251329 w 3214497"/>
                <a:gd name="connsiteY179" fmla="*/ 5047488 h 6815328"/>
                <a:gd name="connsiteX180" fmla="*/ 2324481 w 3214497"/>
                <a:gd name="connsiteY180" fmla="*/ 5047488 h 6815328"/>
                <a:gd name="connsiteX181" fmla="*/ 2336673 w 3214497"/>
                <a:gd name="connsiteY181" fmla="*/ 4888992 h 6815328"/>
                <a:gd name="connsiteX182" fmla="*/ 2312289 w 3214497"/>
                <a:gd name="connsiteY182" fmla="*/ 4754880 h 6815328"/>
                <a:gd name="connsiteX183" fmla="*/ 2324481 w 3214497"/>
                <a:gd name="connsiteY183" fmla="*/ 4645152 h 6815328"/>
                <a:gd name="connsiteX184" fmla="*/ 2373249 w 3214497"/>
                <a:gd name="connsiteY184" fmla="*/ 4523232 h 6815328"/>
                <a:gd name="connsiteX185" fmla="*/ 2300097 w 3214497"/>
                <a:gd name="connsiteY185" fmla="*/ 4376928 h 6815328"/>
                <a:gd name="connsiteX186" fmla="*/ 2251329 w 3214497"/>
                <a:gd name="connsiteY186" fmla="*/ 4218432 h 6815328"/>
                <a:gd name="connsiteX187" fmla="*/ 2275713 w 3214497"/>
                <a:gd name="connsiteY187" fmla="*/ 4072128 h 6815328"/>
                <a:gd name="connsiteX188" fmla="*/ 2275713 w 3214497"/>
                <a:gd name="connsiteY188" fmla="*/ 4072128 h 6815328"/>
                <a:gd name="connsiteX189" fmla="*/ 2324481 w 3214497"/>
                <a:gd name="connsiteY189" fmla="*/ 3913632 h 6815328"/>
                <a:gd name="connsiteX190" fmla="*/ 2312289 w 3214497"/>
                <a:gd name="connsiteY190" fmla="*/ 3803904 h 6815328"/>
                <a:gd name="connsiteX191" fmla="*/ 2385441 w 3214497"/>
                <a:gd name="connsiteY191" fmla="*/ 3730752 h 6815328"/>
                <a:gd name="connsiteX192" fmla="*/ 2348865 w 3214497"/>
                <a:gd name="connsiteY192" fmla="*/ 3694176 h 6815328"/>
                <a:gd name="connsiteX193" fmla="*/ 2324481 w 3214497"/>
                <a:gd name="connsiteY193" fmla="*/ 3621024 h 6815328"/>
                <a:gd name="connsiteX194" fmla="*/ 2263521 w 3214497"/>
                <a:gd name="connsiteY194" fmla="*/ 3621024 h 6815328"/>
                <a:gd name="connsiteX195" fmla="*/ 2190369 w 3214497"/>
                <a:gd name="connsiteY195" fmla="*/ 3560064 h 6815328"/>
                <a:gd name="connsiteX196" fmla="*/ 2129409 w 3214497"/>
                <a:gd name="connsiteY196" fmla="*/ 3499104 h 6815328"/>
                <a:gd name="connsiteX197" fmla="*/ 2129409 w 3214497"/>
                <a:gd name="connsiteY197" fmla="*/ 3499104 h 6815328"/>
                <a:gd name="connsiteX198" fmla="*/ 2263521 w 3214497"/>
                <a:gd name="connsiteY198" fmla="*/ 3364992 h 6815328"/>
                <a:gd name="connsiteX199" fmla="*/ 2153793 w 3214497"/>
                <a:gd name="connsiteY199" fmla="*/ 3304032 h 6815328"/>
                <a:gd name="connsiteX200" fmla="*/ 2153793 w 3214497"/>
                <a:gd name="connsiteY200" fmla="*/ 3304032 h 6815328"/>
                <a:gd name="connsiteX201" fmla="*/ 2092833 w 3214497"/>
                <a:gd name="connsiteY201" fmla="*/ 3279648 h 6815328"/>
                <a:gd name="connsiteX202" fmla="*/ 2007489 w 3214497"/>
                <a:gd name="connsiteY202" fmla="*/ 3145536 h 6815328"/>
                <a:gd name="connsiteX203" fmla="*/ 1958721 w 3214497"/>
                <a:gd name="connsiteY203" fmla="*/ 3218688 h 6815328"/>
                <a:gd name="connsiteX204" fmla="*/ 1922145 w 3214497"/>
                <a:gd name="connsiteY204" fmla="*/ 3096768 h 6815328"/>
                <a:gd name="connsiteX205" fmla="*/ 1848993 w 3214497"/>
                <a:gd name="connsiteY205" fmla="*/ 3023616 h 6815328"/>
                <a:gd name="connsiteX206" fmla="*/ 1873377 w 3214497"/>
                <a:gd name="connsiteY206" fmla="*/ 2913888 h 6815328"/>
                <a:gd name="connsiteX207" fmla="*/ 1788033 w 3214497"/>
                <a:gd name="connsiteY207" fmla="*/ 2852928 h 6815328"/>
                <a:gd name="connsiteX208" fmla="*/ 1775841 w 3214497"/>
                <a:gd name="connsiteY208" fmla="*/ 2779776 h 6815328"/>
                <a:gd name="connsiteX209" fmla="*/ 1532001 w 3214497"/>
                <a:gd name="connsiteY209" fmla="*/ 2621280 h 6815328"/>
                <a:gd name="connsiteX210" fmla="*/ 1434465 w 3214497"/>
                <a:gd name="connsiteY210" fmla="*/ 2499360 h 6815328"/>
                <a:gd name="connsiteX211" fmla="*/ 1483233 w 3214497"/>
                <a:gd name="connsiteY211" fmla="*/ 2474976 h 6815328"/>
                <a:gd name="connsiteX212" fmla="*/ 1410081 w 3214497"/>
                <a:gd name="connsiteY212" fmla="*/ 2365248 h 6815328"/>
                <a:gd name="connsiteX213" fmla="*/ 1410081 w 3214497"/>
                <a:gd name="connsiteY213" fmla="*/ 2365248 h 6815328"/>
                <a:gd name="connsiteX214" fmla="*/ 1239393 w 3214497"/>
                <a:gd name="connsiteY214" fmla="*/ 2231136 h 6815328"/>
                <a:gd name="connsiteX215" fmla="*/ 1288161 w 3214497"/>
                <a:gd name="connsiteY215" fmla="*/ 2157984 h 6815328"/>
                <a:gd name="connsiteX216" fmla="*/ 1202817 w 3214497"/>
                <a:gd name="connsiteY216" fmla="*/ 2133600 h 6815328"/>
                <a:gd name="connsiteX217" fmla="*/ 1129665 w 3214497"/>
                <a:gd name="connsiteY217" fmla="*/ 2109216 h 6815328"/>
                <a:gd name="connsiteX218" fmla="*/ 1044321 w 3214497"/>
                <a:gd name="connsiteY218" fmla="*/ 2084832 h 6815328"/>
                <a:gd name="connsiteX219" fmla="*/ 983361 w 3214497"/>
                <a:gd name="connsiteY219" fmla="*/ 2072640 h 6815328"/>
                <a:gd name="connsiteX220" fmla="*/ 995553 w 3214497"/>
                <a:gd name="connsiteY220" fmla="*/ 1987296 h 6815328"/>
                <a:gd name="connsiteX221" fmla="*/ 946785 w 3214497"/>
                <a:gd name="connsiteY221" fmla="*/ 1999488 h 6815328"/>
                <a:gd name="connsiteX222" fmla="*/ 873633 w 3214497"/>
                <a:gd name="connsiteY222" fmla="*/ 1962912 h 6815328"/>
                <a:gd name="connsiteX223" fmla="*/ 873633 w 3214497"/>
                <a:gd name="connsiteY223" fmla="*/ 1962912 h 6815328"/>
                <a:gd name="connsiteX224" fmla="*/ 812673 w 3214497"/>
                <a:gd name="connsiteY224" fmla="*/ 1926336 h 6815328"/>
                <a:gd name="connsiteX225" fmla="*/ 715137 w 3214497"/>
                <a:gd name="connsiteY225" fmla="*/ 1889760 h 6815328"/>
                <a:gd name="connsiteX226" fmla="*/ 715137 w 3214497"/>
                <a:gd name="connsiteY226" fmla="*/ 1804416 h 6815328"/>
                <a:gd name="connsiteX227" fmla="*/ 800481 w 3214497"/>
                <a:gd name="connsiteY227" fmla="*/ 1767840 h 6815328"/>
                <a:gd name="connsiteX228" fmla="*/ 763905 w 3214497"/>
                <a:gd name="connsiteY228" fmla="*/ 1682496 h 6815328"/>
                <a:gd name="connsiteX229" fmla="*/ 763905 w 3214497"/>
                <a:gd name="connsiteY229" fmla="*/ 1682496 h 6815328"/>
                <a:gd name="connsiteX230" fmla="*/ 885825 w 3214497"/>
                <a:gd name="connsiteY230" fmla="*/ 1670304 h 6815328"/>
                <a:gd name="connsiteX231" fmla="*/ 983361 w 3214497"/>
                <a:gd name="connsiteY231" fmla="*/ 1682496 h 6815328"/>
                <a:gd name="connsiteX232" fmla="*/ 995553 w 3214497"/>
                <a:gd name="connsiteY232" fmla="*/ 1645920 h 6815328"/>
                <a:gd name="connsiteX233" fmla="*/ 1032129 w 3214497"/>
                <a:gd name="connsiteY233" fmla="*/ 1719072 h 6815328"/>
                <a:gd name="connsiteX234" fmla="*/ 1166241 w 3214497"/>
                <a:gd name="connsiteY234" fmla="*/ 1609344 h 6815328"/>
                <a:gd name="connsiteX235" fmla="*/ 1129665 w 3214497"/>
                <a:gd name="connsiteY235" fmla="*/ 1597152 h 6815328"/>
                <a:gd name="connsiteX236" fmla="*/ 1154049 w 3214497"/>
                <a:gd name="connsiteY236" fmla="*/ 1511808 h 6815328"/>
                <a:gd name="connsiteX237" fmla="*/ 1154049 w 3214497"/>
                <a:gd name="connsiteY237" fmla="*/ 1511808 h 6815328"/>
                <a:gd name="connsiteX238" fmla="*/ 1044321 w 3214497"/>
                <a:gd name="connsiteY238" fmla="*/ 1450848 h 6815328"/>
                <a:gd name="connsiteX239" fmla="*/ 1044321 w 3214497"/>
                <a:gd name="connsiteY239" fmla="*/ 1353312 h 6815328"/>
                <a:gd name="connsiteX240" fmla="*/ 934593 w 3214497"/>
                <a:gd name="connsiteY240" fmla="*/ 1353312 h 6815328"/>
                <a:gd name="connsiteX241" fmla="*/ 944118 w 3214497"/>
                <a:gd name="connsiteY241" fmla="*/ 1329500 h 6815328"/>
                <a:gd name="connsiteX242" fmla="*/ 1019937 w 3214497"/>
                <a:gd name="connsiteY242" fmla="*/ 1243584 h 6815328"/>
                <a:gd name="connsiteX243" fmla="*/ 995553 w 3214497"/>
                <a:gd name="connsiteY243" fmla="*/ 1182624 h 6815328"/>
                <a:gd name="connsiteX244" fmla="*/ 946785 w 3214497"/>
                <a:gd name="connsiteY244" fmla="*/ 1182624 h 6815328"/>
                <a:gd name="connsiteX245" fmla="*/ 861441 w 3214497"/>
                <a:gd name="connsiteY245" fmla="*/ 1121664 h 6815328"/>
                <a:gd name="connsiteX246" fmla="*/ 788289 w 3214497"/>
                <a:gd name="connsiteY246" fmla="*/ 1121664 h 6815328"/>
                <a:gd name="connsiteX247" fmla="*/ 690753 w 3214497"/>
                <a:gd name="connsiteY247" fmla="*/ 1158240 h 6815328"/>
                <a:gd name="connsiteX248" fmla="*/ 666369 w 3214497"/>
                <a:gd name="connsiteY248" fmla="*/ 1255776 h 6815328"/>
                <a:gd name="connsiteX249" fmla="*/ 581025 w 3214497"/>
                <a:gd name="connsiteY249" fmla="*/ 1182624 h 6815328"/>
                <a:gd name="connsiteX250" fmla="*/ 532257 w 3214497"/>
                <a:gd name="connsiteY250" fmla="*/ 1207008 h 6815328"/>
                <a:gd name="connsiteX251" fmla="*/ 434721 w 3214497"/>
                <a:gd name="connsiteY251" fmla="*/ 1158240 h 6815328"/>
                <a:gd name="connsiteX252" fmla="*/ 434721 w 3214497"/>
                <a:gd name="connsiteY252" fmla="*/ 1158240 h 6815328"/>
                <a:gd name="connsiteX253" fmla="*/ 361569 w 3214497"/>
                <a:gd name="connsiteY253" fmla="*/ 1085088 h 6815328"/>
                <a:gd name="connsiteX254" fmla="*/ 361569 w 3214497"/>
                <a:gd name="connsiteY254" fmla="*/ 1085088 h 6815328"/>
                <a:gd name="connsiteX255" fmla="*/ 276225 w 3214497"/>
                <a:gd name="connsiteY255" fmla="*/ 975360 h 6815328"/>
                <a:gd name="connsiteX256" fmla="*/ 312801 w 3214497"/>
                <a:gd name="connsiteY256" fmla="*/ 914400 h 6815328"/>
                <a:gd name="connsiteX257" fmla="*/ 300609 w 3214497"/>
                <a:gd name="connsiteY257" fmla="*/ 865632 h 6815328"/>
                <a:gd name="connsiteX258" fmla="*/ 337185 w 3214497"/>
                <a:gd name="connsiteY258" fmla="*/ 816864 h 6815328"/>
                <a:gd name="connsiteX259" fmla="*/ 337185 w 3214497"/>
                <a:gd name="connsiteY259" fmla="*/ 731520 h 6815328"/>
                <a:gd name="connsiteX260" fmla="*/ 251841 w 3214497"/>
                <a:gd name="connsiteY260" fmla="*/ 804672 h 6815328"/>
                <a:gd name="connsiteX261" fmla="*/ 178689 w 3214497"/>
                <a:gd name="connsiteY261" fmla="*/ 682752 h 6815328"/>
                <a:gd name="connsiteX262" fmla="*/ 129921 w 3214497"/>
                <a:gd name="connsiteY262" fmla="*/ 597408 h 6815328"/>
                <a:gd name="connsiteX263" fmla="*/ 81153 w 3214497"/>
                <a:gd name="connsiteY263" fmla="*/ 524256 h 6815328"/>
                <a:gd name="connsiteX264" fmla="*/ 20193 w 3214497"/>
                <a:gd name="connsiteY264" fmla="*/ 524256 h 6815328"/>
                <a:gd name="connsiteX265" fmla="*/ 0 w 3214497"/>
                <a:gd name="connsiteY265" fmla="*/ 406813 h 681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3214497" h="6815328">
                  <a:moveTo>
                    <a:pt x="0" y="406813"/>
                  </a:moveTo>
                  <a:cubicBezTo>
                    <a:pt x="24384" y="406813"/>
                    <a:pt x="27623" y="395700"/>
                    <a:pt x="44577" y="390144"/>
                  </a:cubicBezTo>
                  <a:cubicBezTo>
                    <a:pt x="61531" y="384588"/>
                    <a:pt x="82677" y="379031"/>
                    <a:pt x="101727" y="373475"/>
                  </a:cubicBezTo>
                  <a:lnTo>
                    <a:pt x="93345" y="292608"/>
                  </a:lnTo>
                  <a:lnTo>
                    <a:pt x="93345" y="292608"/>
                  </a:lnTo>
                  <a:lnTo>
                    <a:pt x="166497" y="256032"/>
                  </a:lnTo>
                  <a:lnTo>
                    <a:pt x="215265" y="268224"/>
                  </a:lnTo>
                  <a:lnTo>
                    <a:pt x="324993" y="341376"/>
                  </a:lnTo>
                  <a:lnTo>
                    <a:pt x="349377" y="414528"/>
                  </a:lnTo>
                  <a:lnTo>
                    <a:pt x="422529" y="402336"/>
                  </a:lnTo>
                  <a:lnTo>
                    <a:pt x="434721" y="329184"/>
                  </a:lnTo>
                  <a:lnTo>
                    <a:pt x="434721" y="329184"/>
                  </a:lnTo>
                  <a:lnTo>
                    <a:pt x="507873" y="219456"/>
                  </a:lnTo>
                  <a:cubicBezTo>
                    <a:pt x="564896" y="248888"/>
                    <a:pt x="564769" y="292608"/>
                    <a:pt x="593217" y="329184"/>
                  </a:cubicBezTo>
                  <a:lnTo>
                    <a:pt x="617601" y="231648"/>
                  </a:lnTo>
                  <a:cubicBezTo>
                    <a:pt x="682340" y="259683"/>
                    <a:pt x="723265" y="321056"/>
                    <a:pt x="776097" y="365760"/>
                  </a:cubicBezTo>
                  <a:lnTo>
                    <a:pt x="849249" y="219456"/>
                  </a:lnTo>
                  <a:lnTo>
                    <a:pt x="892969" y="204883"/>
                  </a:lnTo>
                  <a:cubicBezTo>
                    <a:pt x="938499" y="231046"/>
                    <a:pt x="912590" y="271494"/>
                    <a:pt x="922401" y="304800"/>
                  </a:cubicBezTo>
                  <a:cubicBezTo>
                    <a:pt x="971169" y="276352"/>
                    <a:pt x="1008030" y="247904"/>
                    <a:pt x="1068705" y="219456"/>
                  </a:cubicBezTo>
                  <a:cubicBezTo>
                    <a:pt x="1078960" y="225711"/>
                    <a:pt x="1089216" y="243872"/>
                    <a:pt x="1099471" y="250127"/>
                  </a:cubicBezTo>
                  <a:lnTo>
                    <a:pt x="1117473" y="243840"/>
                  </a:lnTo>
                  <a:lnTo>
                    <a:pt x="1117473" y="243840"/>
                  </a:lnTo>
                  <a:lnTo>
                    <a:pt x="1129665" y="134112"/>
                  </a:lnTo>
                  <a:cubicBezTo>
                    <a:pt x="1139762" y="95440"/>
                    <a:pt x="1178433" y="85344"/>
                    <a:pt x="1202817" y="60960"/>
                  </a:cubicBezTo>
                  <a:lnTo>
                    <a:pt x="1307783" y="43719"/>
                  </a:lnTo>
                  <a:lnTo>
                    <a:pt x="1349121" y="0"/>
                  </a:lnTo>
                  <a:cubicBezTo>
                    <a:pt x="1393825" y="40640"/>
                    <a:pt x="1419479" y="90805"/>
                    <a:pt x="1483233" y="121920"/>
                  </a:cubicBezTo>
                  <a:lnTo>
                    <a:pt x="1483233" y="121920"/>
                  </a:lnTo>
                  <a:lnTo>
                    <a:pt x="1605153" y="195072"/>
                  </a:lnTo>
                  <a:cubicBezTo>
                    <a:pt x="1642840" y="197168"/>
                    <a:pt x="1647190" y="192120"/>
                    <a:pt x="1653921" y="158496"/>
                  </a:cubicBezTo>
                  <a:lnTo>
                    <a:pt x="1727073" y="158496"/>
                  </a:lnTo>
                  <a:lnTo>
                    <a:pt x="1788033" y="207264"/>
                  </a:lnTo>
                  <a:lnTo>
                    <a:pt x="1861185" y="195072"/>
                  </a:lnTo>
                  <a:cubicBezTo>
                    <a:pt x="1887252" y="239204"/>
                    <a:pt x="1918081" y="235712"/>
                    <a:pt x="1946529" y="256032"/>
                  </a:cubicBezTo>
                  <a:lnTo>
                    <a:pt x="2007489" y="256032"/>
                  </a:lnTo>
                  <a:cubicBezTo>
                    <a:pt x="2004822" y="309276"/>
                    <a:pt x="1983105" y="329184"/>
                    <a:pt x="1970913" y="365760"/>
                  </a:cubicBezTo>
                  <a:cubicBezTo>
                    <a:pt x="1950593" y="369824"/>
                    <a:pt x="1901698" y="359600"/>
                    <a:pt x="1909953" y="377952"/>
                  </a:cubicBezTo>
                  <a:cubicBezTo>
                    <a:pt x="1925225" y="433578"/>
                    <a:pt x="1911921" y="455866"/>
                    <a:pt x="1920049" y="492442"/>
                  </a:cubicBezTo>
                  <a:lnTo>
                    <a:pt x="1970913" y="499872"/>
                  </a:lnTo>
                  <a:cubicBezTo>
                    <a:pt x="1977072" y="553117"/>
                    <a:pt x="1954657" y="573024"/>
                    <a:pt x="1946529" y="609600"/>
                  </a:cubicBezTo>
                  <a:lnTo>
                    <a:pt x="1995297" y="633984"/>
                  </a:lnTo>
                  <a:lnTo>
                    <a:pt x="2044065" y="621792"/>
                  </a:lnTo>
                  <a:cubicBezTo>
                    <a:pt x="2086515" y="616331"/>
                    <a:pt x="2076577" y="629920"/>
                    <a:pt x="2092833" y="633984"/>
                  </a:cubicBezTo>
                  <a:cubicBezTo>
                    <a:pt x="2100961" y="662432"/>
                    <a:pt x="2085277" y="690880"/>
                    <a:pt x="2117217" y="719328"/>
                  </a:cubicBezTo>
                  <a:lnTo>
                    <a:pt x="2117217" y="719328"/>
                  </a:lnTo>
                  <a:lnTo>
                    <a:pt x="2275713" y="743712"/>
                  </a:lnTo>
                  <a:lnTo>
                    <a:pt x="2297715" y="792195"/>
                  </a:lnTo>
                  <a:cubicBezTo>
                    <a:pt x="2341943" y="803212"/>
                    <a:pt x="2348071" y="776129"/>
                    <a:pt x="2373249" y="768096"/>
                  </a:cubicBezTo>
                  <a:lnTo>
                    <a:pt x="2424113" y="758571"/>
                  </a:lnTo>
                  <a:cubicBezTo>
                    <a:pt x="2478056" y="781272"/>
                    <a:pt x="2474849" y="808736"/>
                    <a:pt x="2507361" y="829056"/>
                  </a:cubicBezTo>
                  <a:lnTo>
                    <a:pt x="2495169" y="877824"/>
                  </a:lnTo>
                  <a:lnTo>
                    <a:pt x="2458593" y="877824"/>
                  </a:lnTo>
                  <a:lnTo>
                    <a:pt x="2397633" y="914400"/>
                  </a:lnTo>
                  <a:lnTo>
                    <a:pt x="2324481" y="963168"/>
                  </a:lnTo>
                  <a:lnTo>
                    <a:pt x="2287905" y="1036320"/>
                  </a:lnTo>
                  <a:lnTo>
                    <a:pt x="2226945" y="1097280"/>
                  </a:lnTo>
                  <a:lnTo>
                    <a:pt x="2226945" y="1097280"/>
                  </a:lnTo>
                  <a:lnTo>
                    <a:pt x="2068449" y="1121664"/>
                  </a:lnTo>
                  <a:lnTo>
                    <a:pt x="1983105" y="1158240"/>
                  </a:lnTo>
                  <a:lnTo>
                    <a:pt x="1970913" y="1219200"/>
                  </a:lnTo>
                  <a:lnTo>
                    <a:pt x="1946529" y="1280160"/>
                  </a:lnTo>
                  <a:lnTo>
                    <a:pt x="1909953" y="1389888"/>
                  </a:lnTo>
                  <a:lnTo>
                    <a:pt x="1873377" y="1426464"/>
                  </a:lnTo>
                  <a:lnTo>
                    <a:pt x="1824609" y="1499616"/>
                  </a:lnTo>
                  <a:lnTo>
                    <a:pt x="1824609" y="1499616"/>
                  </a:lnTo>
                  <a:lnTo>
                    <a:pt x="1763649" y="1487424"/>
                  </a:lnTo>
                  <a:lnTo>
                    <a:pt x="1714881" y="1572768"/>
                  </a:lnTo>
                  <a:lnTo>
                    <a:pt x="1641729" y="1560576"/>
                  </a:lnTo>
                  <a:lnTo>
                    <a:pt x="1605153" y="1706880"/>
                  </a:lnTo>
                  <a:lnTo>
                    <a:pt x="1556385" y="1780032"/>
                  </a:lnTo>
                  <a:lnTo>
                    <a:pt x="1580769" y="1865376"/>
                  </a:lnTo>
                  <a:lnTo>
                    <a:pt x="1556385" y="1926336"/>
                  </a:lnTo>
                  <a:lnTo>
                    <a:pt x="1544193" y="1987296"/>
                  </a:lnTo>
                  <a:lnTo>
                    <a:pt x="1495425" y="1999488"/>
                  </a:lnTo>
                  <a:lnTo>
                    <a:pt x="1532001" y="2097024"/>
                  </a:lnTo>
                  <a:lnTo>
                    <a:pt x="1617345" y="2231136"/>
                  </a:lnTo>
                  <a:lnTo>
                    <a:pt x="1617345" y="2231136"/>
                  </a:lnTo>
                  <a:lnTo>
                    <a:pt x="1739265" y="2328672"/>
                  </a:lnTo>
                  <a:lnTo>
                    <a:pt x="1788033" y="2414016"/>
                  </a:lnTo>
                  <a:lnTo>
                    <a:pt x="1836801" y="2377440"/>
                  </a:lnTo>
                  <a:lnTo>
                    <a:pt x="1897761" y="2462784"/>
                  </a:lnTo>
                  <a:lnTo>
                    <a:pt x="1873377" y="2535936"/>
                  </a:lnTo>
                  <a:lnTo>
                    <a:pt x="2007489" y="2779776"/>
                  </a:lnTo>
                  <a:lnTo>
                    <a:pt x="2129409" y="2877312"/>
                  </a:lnTo>
                  <a:lnTo>
                    <a:pt x="2251329" y="3023616"/>
                  </a:lnTo>
                  <a:lnTo>
                    <a:pt x="2300097" y="3096768"/>
                  </a:lnTo>
                  <a:cubicBezTo>
                    <a:pt x="2352929" y="3121152"/>
                    <a:pt x="2405761" y="3136011"/>
                    <a:pt x="2458593" y="3169920"/>
                  </a:cubicBezTo>
                  <a:cubicBezTo>
                    <a:pt x="2476246" y="3192907"/>
                    <a:pt x="2474849" y="3234944"/>
                    <a:pt x="2482977" y="3267456"/>
                  </a:cubicBezTo>
                  <a:lnTo>
                    <a:pt x="2482977" y="3267456"/>
                  </a:lnTo>
                  <a:cubicBezTo>
                    <a:pt x="2511425" y="3247136"/>
                    <a:pt x="2532729" y="3219672"/>
                    <a:pt x="2568321" y="3206496"/>
                  </a:cubicBezTo>
                  <a:cubicBezTo>
                    <a:pt x="2584291" y="3221355"/>
                    <a:pt x="2576449" y="3255264"/>
                    <a:pt x="2580513" y="3279648"/>
                  </a:cubicBezTo>
                  <a:lnTo>
                    <a:pt x="2629281" y="3279648"/>
                  </a:lnTo>
                  <a:lnTo>
                    <a:pt x="2617089" y="3328416"/>
                  </a:lnTo>
                  <a:lnTo>
                    <a:pt x="2751201" y="3425952"/>
                  </a:lnTo>
                  <a:lnTo>
                    <a:pt x="2787777" y="3547872"/>
                  </a:lnTo>
                  <a:lnTo>
                    <a:pt x="2848737" y="3621024"/>
                  </a:lnTo>
                  <a:lnTo>
                    <a:pt x="2897505" y="3645408"/>
                  </a:lnTo>
                  <a:lnTo>
                    <a:pt x="2897505" y="3645408"/>
                  </a:lnTo>
                  <a:lnTo>
                    <a:pt x="2958465" y="3767328"/>
                  </a:lnTo>
                  <a:lnTo>
                    <a:pt x="2982849" y="3864864"/>
                  </a:lnTo>
                  <a:lnTo>
                    <a:pt x="3031617" y="4011168"/>
                  </a:lnTo>
                  <a:lnTo>
                    <a:pt x="3068193" y="4157472"/>
                  </a:lnTo>
                  <a:lnTo>
                    <a:pt x="3104769" y="4291584"/>
                  </a:lnTo>
                  <a:lnTo>
                    <a:pt x="3141345" y="4389120"/>
                  </a:lnTo>
                  <a:lnTo>
                    <a:pt x="3104769" y="4437888"/>
                  </a:lnTo>
                  <a:lnTo>
                    <a:pt x="3104769" y="4498848"/>
                  </a:lnTo>
                  <a:lnTo>
                    <a:pt x="3104769" y="4498848"/>
                  </a:lnTo>
                  <a:lnTo>
                    <a:pt x="3104769" y="4498848"/>
                  </a:lnTo>
                  <a:lnTo>
                    <a:pt x="3141345" y="4608576"/>
                  </a:lnTo>
                  <a:lnTo>
                    <a:pt x="3165729" y="4706112"/>
                  </a:lnTo>
                  <a:lnTo>
                    <a:pt x="3214497" y="4779264"/>
                  </a:lnTo>
                  <a:lnTo>
                    <a:pt x="3165729" y="4852416"/>
                  </a:lnTo>
                  <a:lnTo>
                    <a:pt x="3165729" y="4852416"/>
                  </a:lnTo>
                  <a:lnTo>
                    <a:pt x="3141345" y="4986528"/>
                  </a:lnTo>
                  <a:lnTo>
                    <a:pt x="3141345" y="5047488"/>
                  </a:lnTo>
                  <a:lnTo>
                    <a:pt x="3116961" y="5047488"/>
                  </a:lnTo>
                  <a:lnTo>
                    <a:pt x="3153537" y="5132832"/>
                  </a:lnTo>
                  <a:lnTo>
                    <a:pt x="3104769" y="5157216"/>
                  </a:lnTo>
                  <a:lnTo>
                    <a:pt x="3104769" y="5157216"/>
                  </a:lnTo>
                  <a:lnTo>
                    <a:pt x="3104769" y="5327904"/>
                  </a:lnTo>
                  <a:lnTo>
                    <a:pt x="3068193" y="5437632"/>
                  </a:lnTo>
                  <a:lnTo>
                    <a:pt x="3019425" y="5437632"/>
                  </a:lnTo>
                  <a:lnTo>
                    <a:pt x="3019425" y="5437632"/>
                  </a:lnTo>
                  <a:lnTo>
                    <a:pt x="2897505" y="5535168"/>
                  </a:lnTo>
                  <a:lnTo>
                    <a:pt x="2860929" y="5608320"/>
                  </a:lnTo>
                  <a:lnTo>
                    <a:pt x="2787777" y="5620512"/>
                  </a:lnTo>
                  <a:lnTo>
                    <a:pt x="2763393" y="5657088"/>
                  </a:lnTo>
                  <a:lnTo>
                    <a:pt x="2665857" y="5669280"/>
                  </a:lnTo>
                  <a:lnTo>
                    <a:pt x="2653665" y="5718048"/>
                  </a:lnTo>
                  <a:lnTo>
                    <a:pt x="2604897" y="5766816"/>
                  </a:lnTo>
                  <a:lnTo>
                    <a:pt x="2604897" y="5766816"/>
                  </a:lnTo>
                  <a:lnTo>
                    <a:pt x="2409825" y="5815584"/>
                  </a:lnTo>
                  <a:lnTo>
                    <a:pt x="2287905" y="5925312"/>
                  </a:lnTo>
                  <a:lnTo>
                    <a:pt x="2202561" y="5998464"/>
                  </a:lnTo>
                  <a:lnTo>
                    <a:pt x="2044065" y="5974080"/>
                  </a:lnTo>
                  <a:lnTo>
                    <a:pt x="1995297" y="6035040"/>
                  </a:lnTo>
                  <a:lnTo>
                    <a:pt x="2019681" y="6083808"/>
                  </a:lnTo>
                  <a:lnTo>
                    <a:pt x="1970913" y="6132576"/>
                  </a:lnTo>
                  <a:lnTo>
                    <a:pt x="1958721" y="6230112"/>
                  </a:lnTo>
                  <a:lnTo>
                    <a:pt x="1922145" y="6266688"/>
                  </a:lnTo>
                  <a:lnTo>
                    <a:pt x="1909953" y="6339840"/>
                  </a:lnTo>
                  <a:lnTo>
                    <a:pt x="1836801" y="6364224"/>
                  </a:lnTo>
                  <a:lnTo>
                    <a:pt x="1763649" y="6364224"/>
                  </a:lnTo>
                  <a:lnTo>
                    <a:pt x="1763649" y="6364224"/>
                  </a:lnTo>
                  <a:lnTo>
                    <a:pt x="1739265" y="6449568"/>
                  </a:lnTo>
                  <a:lnTo>
                    <a:pt x="1434465" y="6522720"/>
                  </a:lnTo>
                  <a:lnTo>
                    <a:pt x="1324737" y="6693408"/>
                  </a:lnTo>
                  <a:lnTo>
                    <a:pt x="1251585" y="6754368"/>
                  </a:lnTo>
                  <a:lnTo>
                    <a:pt x="1154049" y="6815328"/>
                  </a:lnTo>
                  <a:lnTo>
                    <a:pt x="1068705" y="6754368"/>
                  </a:lnTo>
                  <a:lnTo>
                    <a:pt x="1117473" y="6729984"/>
                  </a:lnTo>
                  <a:lnTo>
                    <a:pt x="1117473" y="6729984"/>
                  </a:lnTo>
                  <a:lnTo>
                    <a:pt x="1105281" y="6266688"/>
                  </a:lnTo>
                  <a:lnTo>
                    <a:pt x="1105281" y="6266688"/>
                  </a:lnTo>
                  <a:lnTo>
                    <a:pt x="1215009" y="6169152"/>
                  </a:lnTo>
                  <a:lnTo>
                    <a:pt x="1154049" y="6083808"/>
                  </a:lnTo>
                  <a:lnTo>
                    <a:pt x="1093089" y="6059424"/>
                  </a:lnTo>
                  <a:lnTo>
                    <a:pt x="971169" y="6059424"/>
                  </a:lnTo>
                  <a:lnTo>
                    <a:pt x="910209" y="5949696"/>
                  </a:lnTo>
                  <a:lnTo>
                    <a:pt x="1044321" y="5864352"/>
                  </a:lnTo>
                  <a:lnTo>
                    <a:pt x="1154049" y="5864352"/>
                  </a:lnTo>
                  <a:lnTo>
                    <a:pt x="1227201" y="5839968"/>
                  </a:lnTo>
                  <a:cubicBezTo>
                    <a:pt x="1206881" y="5791200"/>
                    <a:pt x="1135761" y="5793232"/>
                    <a:pt x="1166241" y="5693664"/>
                  </a:cubicBezTo>
                  <a:cubicBezTo>
                    <a:pt x="1230281" y="5691569"/>
                    <a:pt x="1280033" y="5718048"/>
                    <a:pt x="1336929" y="5730240"/>
                  </a:cubicBezTo>
                  <a:cubicBezTo>
                    <a:pt x="1393825" y="5693664"/>
                    <a:pt x="1426909" y="5654707"/>
                    <a:pt x="1507617" y="5620512"/>
                  </a:cubicBezTo>
                  <a:cubicBezTo>
                    <a:pt x="1561560" y="5618417"/>
                    <a:pt x="1572641" y="5644896"/>
                    <a:pt x="1605153" y="5657088"/>
                  </a:cubicBezTo>
                  <a:lnTo>
                    <a:pt x="1605153" y="5657088"/>
                  </a:lnTo>
                  <a:lnTo>
                    <a:pt x="1690497" y="5730240"/>
                  </a:lnTo>
                  <a:lnTo>
                    <a:pt x="1690497" y="5730240"/>
                  </a:lnTo>
                  <a:lnTo>
                    <a:pt x="1666113" y="5583936"/>
                  </a:lnTo>
                  <a:cubicBezTo>
                    <a:pt x="1629537" y="5575808"/>
                    <a:pt x="1614392" y="5617686"/>
                    <a:pt x="1556385" y="5559552"/>
                  </a:cubicBezTo>
                  <a:lnTo>
                    <a:pt x="1568577" y="5388864"/>
                  </a:lnTo>
                  <a:cubicBezTo>
                    <a:pt x="1598707" y="5328063"/>
                    <a:pt x="1633601" y="5348224"/>
                    <a:pt x="1666113" y="5327904"/>
                  </a:cubicBezTo>
                  <a:lnTo>
                    <a:pt x="1666113" y="5327904"/>
                  </a:lnTo>
                  <a:cubicBezTo>
                    <a:pt x="1739265" y="5331968"/>
                    <a:pt x="1795749" y="5359845"/>
                    <a:pt x="1885569" y="5340096"/>
                  </a:cubicBezTo>
                  <a:cubicBezTo>
                    <a:pt x="1887379" y="5255609"/>
                    <a:pt x="1836801" y="5242560"/>
                    <a:pt x="1812417" y="5193792"/>
                  </a:cubicBezTo>
                  <a:cubicBezTo>
                    <a:pt x="1882204" y="5163535"/>
                    <a:pt x="1942465" y="5185664"/>
                    <a:pt x="2007489" y="5181600"/>
                  </a:cubicBezTo>
                  <a:lnTo>
                    <a:pt x="2084832" y="5126259"/>
                  </a:lnTo>
                  <a:lnTo>
                    <a:pt x="2251329" y="5047488"/>
                  </a:lnTo>
                  <a:lnTo>
                    <a:pt x="2324481" y="5047488"/>
                  </a:lnTo>
                  <a:lnTo>
                    <a:pt x="2336673" y="4888992"/>
                  </a:lnTo>
                  <a:lnTo>
                    <a:pt x="2312289" y="4754880"/>
                  </a:lnTo>
                  <a:lnTo>
                    <a:pt x="2324481" y="4645152"/>
                  </a:lnTo>
                  <a:lnTo>
                    <a:pt x="2373249" y="4523232"/>
                  </a:lnTo>
                  <a:lnTo>
                    <a:pt x="2300097" y="4376928"/>
                  </a:lnTo>
                  <a:lnTo>
                    <a:pt x="2251329" y="4218432"/>
                  </a:lnTo>
                  <a:lnTo>
                    <a:pt x="2275713" y="4072128"/>
                  </a:lnTo>
                  <a:lnTo>
                    <a:pt x="2275713" y="4072128"/>
                  </a:lnTo>
                  <a:lnTo>
                    <a:pt x="2324481" y="3913632"/>
                  </a:lnTo>
                  <a:lnTo>
                    <a:pt x="2312289" y="3803904"/>
                  </a:lnTo>
                  <a:lnTo>
                    <a:pt x="2385441" y="3730752"/>
                  </a:lnTo>
                  <a:lnTo>
                    <a:pt x="2348865" y="3694176"/>
                  </a:lnTo>
                  <a:lnTo>
                    <a:pt x="2324481" y="3621024"/>
                  </a:lnTo>
                  <a:lnTo>
                    <a:pt x="2263521" y="3621024"/>
                  </a:lnTo>
                  <a:lnTo>
                    <a:pt x="2190369" y="3560064"/>
                  </a:lnTo>
                  <a:lnTo>
                    <a:pt x="2129409" y="3499104"/>
                  </a:lnTo>
                  <a:lnTo>
                    <a:pt x="2129409" y="3499104"/>
                  </a:lnTo>
                  <a:lnTo>
                    <a:pt x="2263521" y="3364992"/>
                  </a:lnTo>
                  <a:lnTo>
                    <a:pt x="2153793" y="3304032"/>
                  </a:lnTo>
                  <a:lnTo>
                    <a:pt x="2153793" y="3304032"/>
                  </a:lnTo>
                  <a:lnTo>
                    <a:pt x="2092833" y="3279648"/>
                  </a:lnTo>
                  <a:lnTo>
                    <a:pt x="2007489" y="3145536"/>
                  </a:lnTo>
                  <a:cubicBezTo>
                    <a:pt x="1991233" y="3169920"/>
                    <a:pt x="1996408" y="3184779"/>
                    <a:pt x="1958721" y="3218688"/>
                  </a:cubicBezTo>
                  <a:cubicBezTo>
                    <a:pt x="1925098" y="3175667"/>
                    <a:pt x="1934337" y="3137408"/>
                    <a:pt x="1922145" y="3096768"/>
                  </a:cubicBezTo>
                  <a:lnTo>
                    <a:pt x="1848993" y="3023616"/>
                  </a:lnTo>
                  <a:lnTo>
                    <a:pt x="1873377" y="2913888"/>
                  </a:lnTo>
                  <a:lnTo>
                    <a:pt x="1788033" y="2852928"/>
                  </a:lnTo>
                  <a:lnTo>
                    <a:pt x="1775841" y="2779776"/>
                  </a:lnTo>
                  <a:lnTo>
                    <a:pt x="1532001" y="2621280"/>
                  </a:lnTo>
                  <a:lnTo>
                    <a:pt x="1434465" y="2499360"/>
                  </a:lnTo>
                  <a:lnTo>
                    <a:pt x="1483233" y="2474976"/>
                  </a:lnTo>
                  <a:lnTo>
                    <a:pt x="1410081" y="2365248"/>
                  </a:lnTo>
                  <a:lnTo>
                    <a:pt x="1410081" y="2365248"/>
                  </a:lnTo>
                  <a:lnTo>
                    <a:pt x="1239393" y="2231136"/>
                  </a:lnTo>
                  <a:lnTo>
                    <a:pt x="1288161" y="2157984"/>
                  </a:lnTo>
                  <a:lnTo>
                    <a:pt x="1202817" y="2133600"/>
                  </a:lnTo>
                  <a:lnTo>
                    <a:pt x="1129665" y="2109216"/>
                  </a:lnTo>
                  <a:lnTo>
                    <a:pt x="1044321" y="2084832"/>
                  </a:lnTo>
                  <a:lnTo>
                    <a:pt x="983361" y="2072640"/>
                  </a:lnTo>
                  <a:lnTo>
                    <a:pt x="995553" y="1987296"/>
                  </a:lnTo>
                  <a:lnTo>
                    <a:pt x="946785" y="1999488"/>
                  </a:lnTo>
                  <a:lnTo>
                    <a:pt x="873633" y="1962912"/>
                  </a:lnTo>
                  <a:lnTo>
                    <a:pt x="873633" y="1962912"/>
                  </a:lnTo>
                  <a:lnTo>
                    <a:pt x="812673" y="1926336"/>
                  </a:lnTo>
                  <a:lnTo>
                    <a:pt x="715137" y="1889760"/>
                  </a:lnTo>
                  <a:lnTo>
                    <a:pt x="715137" y="1804416"/>
                  </a:lnTo>
                  <a:lnTo>
                    <a:pt x="800481" y="1767840"/>
                  </a:lnTo>
                  <a:lnTo>
                    <a:pt x="763905" y="1682496"/>
                  </a:lnTo>
                  <a:lnTo>
                    <a:pt x="763905" y="1682496"/>
                  </a:lnTo>
                  <a:lnTo>
                    <a:pt x="885825" y="1670304"/>
                  </a:lnTo>
                  <a:lnTo>
                    <a:pt x="983361" y="1682496"/>
                  </a:lnTo>
                  <a:lnTo>
                    <a:pt x="995553" y="1645920"/>
                  </a:lnTo>
                  <a:lnTo>
                    <a:pt x="1032129" y="1719072"/>
                  </a:lnTo>
                  <a:lnTo>
                    <a:pt x="1166241" y="1609344"/>
                  </a:lnTo>
                  <a:lnTo>
                    <a:pt x="1129665" y="1597152"/>
                  </a:lnTo>
                  <a:lnTo>
                    <a:pt x="1154049" y="1511808"/>
                  </a:lnTo>
                  <a:lnTo>
                    <a:pt x="1154049" y="1511808"/>
                  </a:lnTo>
                  <a:lnTo>
                    <a:pt x="1044321" y="1450848"/>
                  </a:lnTo>
                  <a:lnTo>
                    <a:pt x="1044321" y="1353312"/>
                  </a:lnTo>
                  <a:cubicBezTo>
                    <a:pt x="1007745" y="1353312"/>
                    <a:pt x="951293" y="1357281"/>
                    <a:pt x="934593" y="1353312"/>
                  </a:cubicBezTo>
                  <a:cubicBezTo>
                    <a:pt x="917893" y="1349343"/>
                    <a:pt x="940943" y="1337437"/>
                    <a:pt x="944118" y="1329500"/>
                  </a:cubicBezTo>
                  <a:lnTo>
                    <a:pt x="1019937" y="1243584"/>
                  </a:lnTo>
                  <a:lnTo>
                    <a:pt x="995553" y="1182624"/>
                  </a:lnTo>
                  <a:lnTo>
                    <a:pt x="946785" y="1182624"/>
                  </a:lnTo>
                  <a:lnTo>
                    <a:pt x="861441" y="1121664"/>
                  </a:lnTo>
                  <a:lnTo>
                    <a:pt x="788289" y="1121664"/>
                  </a:lnTo>
                  <a:lnTo>
                    <a:pt x="690753" y="1158240"/>
                  </a:lnTo>
                  <a:lnTo>
                    <a:pt x="666369" y="1255776"/>
                  </a:lnTo>
                  <a:lnTo>
                    <a:pt x="581025" y="1182624"/>
                  </a:lnTo>
                  <a:lnTo>
                    <a:pt x="532257" y="1207008"/>
                  </a:lnTo>
                  <a:lnTo>
                    <a:pt x="434721" y="1158240"/>
                  </a:lnTo>
                  <a:lnTo>
                    <a:pt x="434721" y="1158240"/>
                  </a:lnTo>
                  <a:lnTo>
                    <a:pt x="361569" y="1085088"/>
                  </a:lnTo>
                  <a:lnTo>
                    <a:pt x="361569" y="1085088"/>
                  </a:lnTo>
                  <a:lnTo>
                    <a:pt x="276225" y="975360"/>
                  </a:lnTo>
                  <a:lnTo>
                    <a:pt x="312801" y="914400"/>
                  </a:lnTo>
                  <a:lnTo>
                    <a:pt x="300609" y="865632"/>
                  </a:lnTo>
                  <a:lnTo>
                    <a:pt x="337185" y="816864"/>
                  </a:lnTo>
                  <a:lnTo>
                    <a:pt x="337185" y="731520"/>
                  </a:lnTo>
                  <a:lnTo>
                    <a:pt x="251841" y="804672"/>
                  </a:lnTo>
                  <a:lnTo>
                    <a:pt x="178689" y="682752"/>
                  </a:lnTo>
                  <a:lnTo>
                    <a:pt x="129921" y="597408"/>
                  </a:lnTo>
                  <a:lnTo>
                    <a:pt x="81153" y="524256"/>
                  </a:lnTo>
                  <a:lnTo>
                    <a:pt x="20193" y="524256"/>
                  </a:lnTo>
                  <a:lnTo>
                    <a:pt x="0" y="406813"/>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sp>
        <p:nvSpPr>
          <p:cNvPr id="21" name="Rectangle 20"/>
          <p:cNvSpPr/>
          <p:nvPr/>
        </p:nvSpPr>
        <p:spPr>
          <a:xfrm>
            <a:off x="6012862" y="172154"/>
            <a:ext cx="6191378" cy="1384995"/>
          </a:xfrm>
          <a:prstGeom prst="rect">
            <a:avLst/>
          </a:prstGeom>
        </p:spPr>
        <p:txBody>
          <a:bodyPr wrap="square">
            <a:spAutoFit/>
          </a:bodyPr>
          <a:lstStyle/>
          <a:p>
            <a:r>
              <a:rPr lang="en-US" sz="2800" dirty="0">
                <a:solidFill>
                  <a:schemeClr val="bg1"/>
                </a:solidFill>
              </a:rPr>
              <a:t>School violence is a big problem of Vietnam nowadays </a:t>
            </a:r>
            <a:r>
              <a:rPr lang="pt-BR" sz="2800" dirty="0">
                <a:solidFill>
                  <a:schemeClr val="bg1"/>
                </a:solidFill>
              </a:rPr>
              <a:t>(Do, 2016, Hoang &amp; Dang, 2016)</a:t>
            </a:r>
            <a:endParaRPr lang="en-US" sz="2800" dirty="0">
              <a:solidFill>
                <a:schemeClr val="bg1"/>
              </a:solidFill>
            </a:endParaRPr>
          </a:p>
        </p:txBody>
      </p:sp>
      <p:grpSp>
        <p:nvGrpSpPr>
          <p:cNvPr id="9" name="Group 8"/>
          <p:cNvGrpSpPr/>
          <p:nvPr/>
        </p:nvGrpSpPr>
        <p:grpSpPr>
          <a:xfrm>
            <a:off x="-302866" y="3352787"/>
            <a:ext cx="2027203" cy="2277471"/>
            <a:chOff x="-355826" y="3401890"/>
            <a:chExt cx="2027203" cy="2277471"/>
          </a:xfrm>
        </p:grpSpPr>
        <p:sp>
          <p:nvSpPr>
            <p:cNvPr id="12" name="Freeform 5"/>
            <p:cNvSpPr>
              <a:spLocks noChangeAspect="1"/>
            </p:cNvSpPr>
            <p:nvPr/>
          </p:nvSpPr>
          <p:spPr bwMode="auto">
            <a:xfrm>
              <a:off x="-355826" y="3401890"/>
              <a:ext cx="2027203" cy="2277471"/>
            </a:xfrm>
            <a:custGeom>
              <a:avLst/>
              <a:gdLst>
                <a:gd name="T0" fmla="*/ 318 w 341"/>
                <a:gd name="T1" fmla="*/ 303 h 383"/>
                <a:gd name="T2" fmla="*/ 193 w 341"/>
                <a:gd name="T3" fmla="*/ 375 h 383"/>
                <a:gd name="T4" fmla="*/ 148 w 341"/>
                <a:gd name="T5" fmla="*/ 375 h 383"/>
                <a:gd name="T6" fmla="*/ 23 w 341"/>
                <a:gd name="T7" fmla="*/ 303 h 383"/>
                <a:gd name="T8" fmla="*/ 0 w 341"/>
                <a:gd name="T9" fmla="*/ 264 h 383"/>
                <a:gd name="T10" fmla="*/ 0 w 341"/>
                <a:gd name="T11" fmla="*/ 120 h 383"/>
                <a:gd name="T12" fmla="*/ 23 w 341"/>
                <a:gd name="T13" fmla="*/ 80 h 383"/>
                <a:gd name="T14" fmla="*/ 148 w 341"/>
                <a:gd name="T15" fmla="*/ 8 h 383"/>
                <a:gd name="T16" fmla="*/ 193 w 341"/>
                <a:gd name="T17" fmla="*/ 8 h 383"/>
                <a:gd name="T18" fmla="*/ 318 w 341"/>
                <a:gd name="T19" fmla="*/ 80 h 383"/>
                <a:gd name="T20" fmla="*/ 341 w 341"/>
                <a:gd name="T21" fmla="*/ 120 h 383"/>
                <a:gd name="T22" fmla="*/ 341 w 341"/>
                <a:gd name="T23" fmla="*/ 264 h 383"/>
                <a:gd name="T24" fmla="*/ 318 w 341"/>
                <a:gd name="T25" fmla="*/ 30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383">
                  <a:moveTo>
                    <a:pt x="318" y="303"/>
                  </a:moveTo>
                  <a:cubicBezTo>
                    <a:pt x="193" y="375"/>
                    <a:pt x="193" y="375"/>
                    <a:pt x="193" y="375"/>
                  </a:cubicBezTo>
                  <a:cubicBezTo>
                    <a:pt x="179" y="383"/>
                    <a:pt x="162" y="383"/>
                    <a:pt x="148" y="375"/>
                  </a:cubicBezTo>
                  <a:cubicBezTo>
                    <a:pt x="23" y="303"/>
                    <a:pt x="23" y="303"/>
                    <a:pt x="23" y="303"/>
                  </a:cubicBezTo>
                  <a:cubicBezTo>
                    <a:pt x="9" y="295"/>
                    <a:pt x="0" y="280"/>
                    <a:pt x="0" y="264"/>
                  </a:cubicBezTo>
                  <a:cubicBezTo>
                    <a:pt x="0" y="120"/>
                    <a:pt x="0" y="120"/>
                    <a:pt x="0" y="120"/>
                  </a:cubicBezTo>
                  <a:cubicBezTo>
                    <a:pt x="0" y="103"/>
                    <a:pt x="9" y="88"/>
                    <a:pt x="23" y="80"/>
                  </a:cubicBezTo>
                  <a:cubicBezTo>
                    <a:pt x="148" y="8"/>
                    <a:pt x="148" y="8"/>
                    <a:pt x="148" y="8"/>
                  </a:cubicBezTo>
                  <a:cubicBezTo>
                    <a:pt x="162" y="0"/>
                    <a:pt x="179" y="0"/>
                    <a:pt x="193" y="8"/>
                  </a:cubicBezTo>
                  <a:cubicBezTo>
                    <a:pt x="318" y="80"/>
                    <a:pt x="318" y="80"/>
                    <a:pt x="318" y="80"/>
                  </a:cubicBezTo>
                  <a:cubicBezTo>
                    <a:pt x="332" y="88"/>
                    <a:pt x="341" y="103"/>
                    <a:pt x="341" y="120"/>
                  </a:cubicBezTo>
                  <a:cubicBezTo>
                    <a:pt x="341" y="264"/>
                    <a:pt x="341" y="264"/>
                    <a:pt x="341" y="264"/>
                  </a:cubicBezTo>
                  <a:cubicBezTo>
                    <a:pt x="341" y="280"/>
                    <a:pt x="332" y="295"/>
                    <a:pt x="318" y="303"/>
                  </a:cubicBezTo>
                </a:path>
              </a:pathLst>
            </a:custGeom>
            <a:solidFill>
              <a:srgbClr val="F3BE1A"/>
            </a:solidFill>
            <a:ln>
              <a:noFill/>
            </a:ln>
            <a:effectLst>
              <a:outerShdw blurRad="203200" sx="102000" sy="102000" algn="ctr" rotWithShape="0">
                <a:prstClr val="black">
                  <a:alpha val="34000"/>
                </a:prstClr>
              </a:outerShdw>
            </a:effectLst>
          </p:spPr>
          <p:txBody>
            <a:bodyPr vert="horz" wrap="square" lIns="51435" tIns="25718" rIns="51435" bIns="25718" numCol="1" anchor="t" anchorCtr="0" compatLnSpc="1">
              <a:prstTxWarp prst="textNoShape">
                <a:avLst/>
              </a:prstTxWarp>
            </a:bodyPr>
            <a:lstStyle/>
            <a:p>
              <a:endParaRPr lang="en-US" sz="1013"/>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3927" y="3951393"/>
              <a:ext cx="1192327" cy="1192327"/>
            </a:xfrm>
            <a:prstGeom prst="rect">
              <a:avLst/>
            </a:prstGeom>
          </p:spPr>
        </p:pic>
      </p:grpSp>
      <p:sp>
        <p:nvSpPr>
          <p:cNvPr id="24" name="Rectangle 23"/>
          <p:cNvSpPr/>
          <p:nvPr/>
        </p:nvSpPr>
        <p:spPr>
          <a:xfrm>
            <a:off x="-76742" y="5814973"/>
            <a:ext cx="7283821" cy="1139286"/>
          </a:xfrm>
          <a:prstGeom prst="rect">
            <a:avLst/>
          </a:prstGeom>
        </p:spPr>
        <p:txBody>
          <a:bodyPr wrap="square">
            <a:spAutoFit/>
          </a:bodyPr>
          <a:lstStyle/>
          <a:p>
            <a:pPr>
              <a:lnSpc>
                <a:spcPts val="2700"/>
              </a:lnSpc>
            </a:pPr>
            <a:r>
              <a:rPr lang="en-US" altLang="en-US" sz="2800" dirty="0">
                <a:solidFill>
                  <a:schemeClr val="bg1"/>
                </a:solidFill>
              </a:rPr>
              <a:t>Government's Decree No. 31/2017/BGDĐT to assign counselor’s position at school (part time teacher with training can provide services)</a:t>
            </a:r>
          </a:p>
        </p:txBody>
      </p:sp>
      <p:grpSp>
        <p:nvGrpSpPr>
          <p:cNvPr id="6" name="Group 5"/>
          <p:cNvGrpSpPr/>
          <p:nvPr/>
        </p:nvGrpSpPr>
        <p:grpSpPr>
          <a:xfrm>
            <a:off x="3903123" y="-687036"/>
            <a:ext cx="2027203" cy="2277471"/>
            <a:chOff x="3903123" y="-687036"/>
            <a:chExt cx="2027203" cy="2277471"/>
          </a:xfrm>
        </p:grpSpPr>
        <p:sp>
          <p:nvSpPr>
            <p:cNvPr id="11" name="Freeform 5"/>
            <p:cNvSpPr>
              <a:spLocks noChangeAspect="1"/>
            </p:cNvSpPr>
            <p:nvPr/>
          </p:nvSpPr>
          <p:spPr bwMode="auto">
            <a:xfrm>
              <a:off x="3903123" y="-687036"/>
              <a:ext cx="2027203" cy="2277471"/>
            </a:xfrm>
            <a:custGeom>
              <a:avLst/>
              <a:gdLst>
                <a:gd name="T0" fmla="*/ 318 w 341"/>
                <a:gd name="T1" fmla="*/ 303 h 383"/>
                <a:gd name="T2" fmla="*/ 193 w 341"/>
                <a:gd name="T3" fmla="*/ 375 h 383"/>
                <a:gd name="T4" fmla="*/ 148 w 341"/>
                <a:gd name="T5" fmla="*/ 375 h 383"/>
                <a:gd name="T6" fmla="*/ 23 w 341"/>
                <a:gd name="T7" fmla="*/ 303 h 383"/>
                <a:gd name="T8" fmla="*/ 0 w 341"/>
                <a:gd name="T9" fmla="*/ 264 h 383"/>
                <a:gd name="T10" fmla="*/ 0 w 341"/>
                <a:gd name="T11" fmla="*/ 120 h 383"/>
                <a:gd name="T12" fmla="*/ 23 w 341"/>
                <a:gd name="T13" fmla="*/ 80 h 383"/>
                <a:gd name="T14" fmla="*/ 148 w 341"/>
                <a:gd name="T15" fmla="*/ 8 h 383"/>
                <a:gd name="T16" fmla="*/ 193 w 341"/>
                <a:gd name="T17" fmla="*/ 8 h 383"/>
                <a:gd name="T18" fmla="*/ 318 w 341"/>
                <a:gd name="T19" fmla="*/ 80 h 383"/>
                <a:gd name="T20" fmla="*/ 341 w 341"/>
                <a:gd name="T21" fmla="*/ 120 h 383"/>
                <a:gd name="T22" fmla="*/ 341 w 341"/>
                <a:gd name="T23" fmla="*/ 264 h 383"/>
                <a:gd name="T24" fmla="*/ 318 w 341"/>
                <a:gd name="T25" fmla="*/ 30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383">
                  <a:moveTo>
                    <a:pt x="318" y="303"/>
                  </a:moveTo>
                  <a:cubicBezTo>
                    <a:pt x="193" y="375"/>
                    <a:pt x="193" y="375"/>
                    <a:pt x="193" y="375"/>
                  </a:cubicBezTo>
                  <a:cubicBezTo>
                    <a:pt x="179" y="383"/>
                    <a:pt x="162" y="383"/>
                    <a:pt x="148" y="375"/>
                  </a:cubicBezTo>
                  <a:cubicBezTo>
                    <a:pt x="23" y="303"/>
                    <a:pt x="23" y="303"/>
                    <a:pt x="23" y="303"/>
                  </a:cubicBezTo>
                  <a:cubicBezTo>
                    <a:pt x="9" y="295"/>
                    <a:pt x="0" y="280"/>
                    <a:pt x="0" y="264"/>
                  </a:cubicBezTo>
                  <a:cubicBezTo>
                    <a:pt x="0" y="120"/>
                    <a:pt x="0" y="120"/>
                    <a:pt x="0" y="120"/>
                  </a:cubicBezTo>
                  <a:cubicBezTo>
                    <a:pt x="0" y="103"/>
                    <a:pt x="9" y="88"/>
                    <a:pt x="23" y="80"/>
                  </a:cubicBezTo>
                  <a:cubicBezTo>
                    <a:pt x="148" y="8"/>
                    <a:pt x="148" y="8"/>
                    <a:pt x="148" y="8"/>
                  </a:cubicBezTo>
                  <a:cubicBezTo>
                    <a:pt x="162" y="0"/>
                    <a:pt x="179" y="0"/>
                    <a:pt x="193" y="8"/>
                  </a:cubicBezTo>
                  <a:cubicBezTo>
                    <a:pt x="318" y="80"/>
                    <a:pt x="318" y="80"/>
                    <a:pt x="318" y="80"/>
                  </a:cubicBezTo>
                  <a:cubicBezTo>
                    <a:pt x="332" y="88"/>
                    <a:pt x="341" y="103"/>
                    <a:pt x="341" y="120"/>
                  </a:cubicBezTo>
                  <a:cubicBezTo>
                    <a:pt x="341" y="264"/>
                    <a:pt x="341" y="264"/>
                    <a:pt x="341" y="264"/>
                  </a:cubicBezTo>
                  <a:cubicBezTo>
                    <a:pt x="341" y="280"/>
                    <a:pt x="332" y="295"/>
                    <a:pt x="318" y="303"/>
                  </a:cubicBezTo>
                </a:path>
              </a:pathLst>
            </a:custGeom>
            <a:solidFill>
              <a:srgbClr val="F3BE1A"/>
            </a:solidFill>
            <a:ln>
              <a:noFill/>
            </a:ln>
            <a:effectLst>
              <a:outerShdw blurRad="203200" sx="102000" sy="102000" algn="ctr" rotWithShape="0">
                <a:prstClr val="black">
                  <a:alpha val="34000"/>
                </a:prstClr>
              </a:outerShdw>
            </a:effectLst>
          </p:spPr>
          <p:txBody>
            <a:bodyPr vert="horz" wrap="square" lIns="51435" tIns="25718" rIns="51435" bIns="25718" numCol="1" anchor="t" anchorCtr="0" compatLnSpc="1">
              <a:prstTxWarp prst="textNoShape">
                <a:avLst/>
              </a:prstTxWarp>
            </a:bodyPr>
            <a:lstStyle/>
            <a:p>
              <a:endParaRPr lang="en-US" sz="1013"/>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79584" y="187822"/>
              <a:ext cx="1081088" cy="1081088"/>
            </a:xfrm>
            <a:prstGeom prst="rect">
              <a:avLst/>
            </a:prstGeom>
          </p:spPr>
        </p:pic>
      </p:grpSp>
      <p:sp>
        <p:nvSpPr>
          <p:cNvPr id="20" name="Freeform 5">
            <a:extLst>
              <a:ext uri="{FF2B5EF4-FFF2-40B4-BE49-F238E27FC236}">
                <a16:creationId xmlns:a16="http://schemas.microsoft.com/office/drawing/2014/main" id="{355A1A9E-EFFA-42DC-83D7-AC02D1DA5A98}"/>
              </a:ext>
            </a:extLst>
          </p:cNvPr>
          <p:cNvSpPr>
            <a:spLocks noChangeAspect="1"/>
          </p:cNvSpPr>
          <p:nvPr/>
        </p:nvSpPr>
        <p:spPr bwMode="auto">
          <a:xfrm>
            <a:off x="7267870" y="4360443"/>
            <a:ext cx="5330282" cy="5526741"/>
          </a:xfrm>
          <a:custGeom>
            <a:avLst/>
            <a:gdLst>
              <a:gd name="T0" fmla="*/ 318 w 341"/>
              <a:gd name="T1" fmla="*/ 303 h 383"/>
              <a:gd name="T2" fmla="*/ 193 w 341"/>
              <a:gd name="T3" fmla="*/ 375 h 383"/>
              <a:gd name="T4" fmla="*/ 148 w 341"/>
              <a:gd name="T5" fmla="*/ 375 h 383"/>
              <a:gd name="T6" fmla="*/ 23 w 341"/>
              <a:gd name="T7" fmla="*/ 303 h 383"/>
              <a:gd name="T8" fmla="*/ 0 w 341"/>
              <a:gd name="T9" fmla="*/ 264 h 383"/>
              <a:gd name="T10" fmla="*/ 0 w 341"/>
              <a:gd name="T11" fmla="*/ 120 h 383"/>
              <a:gd name="T12" fmla="*/ 23 w 341"/>
              <a:gd name="T13" fmla="*/ 80 h 383"/>
              <a:gd name="T14" fmla="*/ 148 w 341"/>
              <a:gd name="T15" fmla="*/ 8 h 383"/>
              <a:gd name="T16" fmla="*/ 193 w 341"/>
              <a:gd name="T17" fmla="*/ 8 h 383"/>
              <a:gd name="T18" fmla="*/ 318 w 341"/>
              <a:gd name="T19" fmla="*/ 80 h 383"/>
              <a:gd name="T20" fmla="*/ 341 w 341"/>
              <a:gd name="T21" fmla="*/ 120 h 383"/>
              <a:gd name="T22" fmla="*/ 341 w 341"/>
              <a:gd name="T23" fmla="*/ 264 h 383"/>
              <a:gd name="T24" fmla="*/ 318 w 341"/>
              <a:gd name="T25" fmla="*/ 30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383">
                <a:moveTo>
                  <a:pt x="318" y="303"/>
                </a:moveTo>
                <a:cubicBezTo>
                  <a:pt x="193" y="375"/>
                  <a:pt x="193" y="375"/>
                  <a:pt x="193" y="375"/>
                </a:cubicBezTo>
                <a:cubicBezTo>
                  <a:pt x="179" y="383"/>
                  <a:pt x="162" y="383"/>
                  <a:pt x="148" y="375"/>
                </a:cubicBezTo>
                <a:cubicBezTo>
                  <a:pt x="23" y="303"/>
                  <a:pt x="23" y="303"/>
                  <a:pt x="23" y="303"/>
                </a:cubicBezTo>
                <a:cubicBezTo>
                  <a:pt x="9" y="295"/>
                  <a:pt x="0" y="280"/>
                  <a:pt x="0" y="264"/>
                </a:cubicBezTo>
                <a:cubicBezTo>
                  <a:pt x="0" y="120"/>
                  <a:pt x="0" y="120"/>
                  <a:pt x="0" y="120"/>
                </a:cubicBezTo>
                <a:cubicBezTo>
                  <a:pt x="0" y="103"/>
                  <a:pt x="9" y="88"/>
                  <a:pt x="23" y="80"/>
                </a:cubicBezTo>
                <a:cubicBezTo>
                  <a:pt x="148" y="8"/>
                  <a:pt x="148" y="8"/>
                  <a:pt x="148" y="8"/>
                </a:cubicBezTo>
                <a:cubicBezTo>
                  <a:pt x="162" y="0"/>
                  <a:pt x="179" y="0"/>
                  <a:pt x="193" y="8"/>
                </a:cubicBezTo>
                <a:cubicBezTo>
                  <a:pt x="318" y="80"/>
                  <a:pt x="318" y="80"/>
                  <a:pt x="318" y="80"/>
                </a:cubicBezTo>
                <a:cubicBezTo>
                  <a:pt x="332" y="88"/>
                  <a:pt x="341" y="103"/>
                  <a:pt x="341" y="120"/>
                </a:cubicBezTo>
                <a:cubicBezTo>
                  <a:pt x="341" y="264"/>
                  <a:pt x="341" y="264"/>
                  <a:pt x="341" y="264"/>
                </a:cubicBezTo>
                <a:cubicBezTo>
                  <a:pt x="341" y="280"/>
                  <a:pt x="332" y="295"/>
                  <a:pt x="318" y="303"/>
                </a:cubicBezTo>
              </a:path>
            </a:pathLst>
          </a:custGeom>
          <a:solidFill>
            <a:srgbClr val="F3BE1A"/>
          </a:solidFill>
          <a:ln>
            <a:noFill/>
          </a:ln>
          <a:effectLst>
            <a:outerShdw blurRad="203200" sx="102000" sy="102000" algn="ctr" rotWithShape="0">
              <a:prstClr val="black">
                <a:alpha val="34000"/>
              </a:prstClr>
            </a:outerShdw>
          </a:effectLst>
        </p:spPr>
        <p:txBody>
          <a:bodyPr vert="horz" wrap="square" lIns="51435" tIns="25718" rIns="51435" bIns="25718" numCol="1" anchor="t" anchorCtr="0" compatLnSpc="1">
            <a:prstTxWarp prst="textNoShape">
              <a:avLst/>
            </a:prstTxWarp>
          </a:bodyPr>
          <a:lstStyle/>
          <a:p>
            <a:endParaRPr lang="en-US" sz="1013"/>
          </a:p>
        </p:txBody>
      </p:sp>
      <p:sp>
        <p:nvSpPr>
          <p:cNvPr id="22" name="Rectangle 21">
            <a:extLst>
              <a:ext uri="{FF2B5EF4-FFF2-40B4-BE49-F238E27FC236}">
                <a16:creationId xmlns:a16="http://schemas.microsoft.com/office/drawing/2014/main" id="{78E31D3E-3CE7-48B5-95D8-CC4F305CEB24}"/>
              </a:ext>
            </a:extLst>
          </p:cNvPr>
          <p:cNvSpPr/>
          <p:nvPr/>
        </p:nvSpPr>
        <p:spPr>
          <a:xfrm>
            <a:off x="7387178" y="5230790"/>
            <a:ext cx="4869071" cy="1420261"/>
          </a:xfrm>
          <a:prstGeom prst="rect">
            <a:avLst/>
          </a:prstGeom>
        </p:spPr>
        <p:txBody>
          <a:bodyPr wrap="square">
            <a:spAutoFit/>
          </a:bodyPr>
          <a:lstStyle/>
          <a:p>
            <a:pPr algn="ctr">
              <a:lnSpc>
                <a:spcPct val="150000"/>
              </a:lnSpc>
            </a:pPr>
            <a:r>
              <a:rPr lang="en-US" sz="2000" b="1" dirty="0">
                <a:solidFill>
                  <a:srgbClr val="0070C0"/>
                </a:solidFill>
                <a:latin typeface="Cambria" panose="02040503050406030204" pitchFamily="18" charset="0"/>
              </a:rPr>
              <a:t>NEED 70K SCHOOL COUSELORS FOR PRIMARY AND SECONDARY SCHOOL UP TO 2020</a:t>
            </a:r>
          </a:p>
        </p:txBody>
      </p:sp>
      <p:sp>
        <p:nvSpPr>
          <p:cNvPr id="13" name="Rectangle 12">
            <a:extLst>
              <a:ext uri="{FF2B5EF4-FFF2-40B4-BE49-F238E27FC236}">
                <a16:creationId xmlns:a16="http://schemas.microsoft.com/office/drawing/2014/main" id="{B7ED815E-22F3-476A-BCD1-9F4E96AAF228}"/>
              </a:ext>
            </a:extLst>
          </p:cNvPr>
          <p:cNvSpPr/>
          <p:nvPr/>
        </p:nvSpPr>
        <p:spPr>
          <a:xfrm>
            <a:off x="1783991" y="4245263"/>
            <a:ext cx="7053149" cy="1384995"/>
          </a:xfrm>
          <a:prstGeom prst="rect">
            <a:avLst/>
          </a:prstGeom>
        </p:spPr>
        <p:txBody>
          <a:bodyPr wrap="none">
            <a:spAutoFit/>
          </a:bodyPr>
          <a:lstStyle/>
          <a:p>
            <a:r>
              <a:rPr lang="en-US" sz="2800" dirty="0">
                <a:solidFill>
                  <a:schemeClr val="bg1"/>
                </a:solidFill>
              </a:rPr>
              <a:t>Vietnam: Only 0.63 psychiatric beds per 10,000</a:t>
            </a:r>
          </a:p>
          <a:p>
            <a:r>
              <a:rPr lang="en-US" sz="2800" dirty="0">
                <a:solidFill>
                  <a:schemeClr val="bg1"/>
                </a:solidFill>
              </a:rPr>
              <a:t>0.8 psychiatrists and 0.06 psychologists </a:t>
            </a:r>
          </a:p>
          <a:p>
            <a:r>
              <a:rPr lang="en-US" sz="2800" dirty="0">
                <a:solidFill>
                  <a:schemeClr val="bg1"/>
                </a:solidFill>
              </a:rPr>
              <a:t>per 100,000 people</a:t>
            </a:r>
          </a:p>
        </p:txBody>
      </p:sp>
    </p:spTree>
    <p:extLst>
      <p:ext uri="{BB962C8B-B14F-4D97-AF65-F5344CB8AC3E}">
        <p14:creationId xmlns:p14="http://schemas.microsoft.com/office/powerpoint/2010/main" val="3996674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250"/>
                                        <p:tgtEl>
                                          <p:spTgt spid="9"/>
                                        </p:tgtEl>
                                      </p:cBhvr>
                                    </p:animEffect>
                                  </p:childTnLst>
                                </p:cTn>
                              </p:par>
                              <p:par>
                                <p:cTn id="15" presetID="10"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250"/>
                                        <p:tgtEl>
                                          <p:spTgt spid="10"/>
                                        </p:tgtEl>
                                      </p:cBhvr>
                                    </p:animEffect>
                                  </p:childTnLst>
                                </p:cTn>
                              </p:par>
                              <p:par>
                                <p:cTn id="18" presetID="10"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250"/>
                                        <p:tgtEl>
                                          <p:spTgt spid="6"/>
                                        </p:tgtEl>
                                      </p:cBhvr>
                                    </p:animEffect>
                                  </p:childTnLst>
                                </p:cTn>
                              </p:par>
                              <p:par>
                                <p:cTn id="21" presetID="10"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750"/>
                            </p:stCondLst>
                            <p:childTnLst>
                              <p:par>
                                <p:cTn id="25" presetID="47" presetClass="entr" presetSubtype="0" fill="hold" grpId="0" nodeType="after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250"/>
                                        <p:tgtEl>
                                          <p:spTgt spid="2"/>
                                        </p:tgtEl>
                                      </p:cBhvr>
                                    </p:animEffect>
                                    <p:anim calcmode="lin" valueType="num">
                                      <p:cBhvr>
                                        <p:cTn id="28" dur="250" fill="hold"/>
                                        <p:tgtEl>
                                          <p:spTgt spid="2"/>
                                        </p:tgtEl>
                                        <p:attrNameLst>
                                          <p:attrName>ppt_x</p:attrName>
                                        </p:attrNameLst>
                                      </p:cBhvr>
                                      <p:tavLst>
                                        <p:tav tm="0">
                                          <p:val>
                                            <p:strVal val="#ppt_x"/>
                                          </p:val>
                                        </p:tav>
                                        <p:tav tm="100000">
                                          <p:val>
                                            <p:strVal val="#ppt_x"/>
                                          </p:val>
                                        </p:tav>
                                      </p:tavLst>
                                    </p:anim>
                                    <p:anim calcmode="lin" valueType="num">
                                      <p:cBhvr>
                                        <p:cTn id="29" dur="250" fill="hold"/>
                                        <p:tgtEl>
                                          <p:spTgt spid="2"/>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250"/>
                                        <p:tgtEl>
                                          <p:spTgt spid="21"/>
                                        </p:tgtEl>
                                      </p:cBhvr>
                                    </p:animEffect>
                                    <p:anim calcmode="lin" valueType="num">
                                      <p:cBhvr>
                                        <p:cTn id="33" dur="250" fill="hold"/>
                                        <p:tgtEl>
                                          <p:spTgt spid="21"/>
                                        </p:tgtEl>
                                        <p:attrNameLst>
                                          <p:attrName>ppt_x</p:attrName>
                                        </p:attrNameLst>
                                      </p:cBhvr>
                                      <p:tavLst>
                                        <p:tav tm="0">
                                          <p:val>
                                            <p:strVal val="#ppt_x"/>
                                          </p:val>
                                        </p:tav>
                                        <p:tav tm="100000">
                                          <p:val>
                                            <p:strVal val="#ppt_x"/>
                                          </p:val>
                                        </p:tav>
                                      </p:tavLst>
                                    </p:anim>
                                    <p:anim calcmode="lin" valueType="num">
                                      <p:cBhvr>
                                        <p:cTn id="34" dur="250" fill="hold"/>
                                        <p:tgtEl>
                                          <p:spTgt spid="21"/>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250"/>
                                        <p:tgtEl>
                                          <p:spTgt spid="24"/>
                                        </p:tgtEl>
                                      </p:cBhvr>
                                    </p:animEffect>
                                    <p:anim calcmode="lin" valueType="num">
                                      <p:cBhvr>
                                        <p:cTn id="38" dur="250" fill="hold"/>
                                        <p:tgtEl>
                                          <p:spTgt spid="24"/>
                                        </p:tgtEl>
                                        <p:attrNameLst>
                                          <p:attrName>ppt_x</p:attrName>
                                        </p:attrNameLst>
                                      </p:cBhvr>
                                      <p:tavLst>
                                        <p:tav tm="0">
                                          <p:val>
                                            <p:strVal val="#ppt_x"/>
                                          </p:val>
                                        </p:tav>
                                        <p:tav tm="100000">
                                          <p:val>
                                            <p:strVal val="#ppt_x"/>
                                          </p:val>
                                        </p:tav>
                                      </p:tavLst>
                                    </p:anim>
                                    <p:anim calcmode="lin" valueType="num">
                                      <p:cBhvr>
                                        <p:cTn id="39" dur="25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P spid="21" grpId="0"/>
      <p:bldP spid="2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B5CBFA4-6EF4-4988-871C-3E78A89488C2}"/>
              </a:ext>
            </a:extLst>
          </p:cNvPr>
          <p:cNvPicPr>
            <a:picLocks noChangeAspect="1"/>
          </p:cNvPicPr>
          <p:nvPr/>
        </p:nvPicPr>
        <p:blipFill>
          <a:blip r:embed="rId2"/>
          <a:stretch>
            <a:fillRect/>
          </a:stretch>
        </p:blipFill>
        <p:spPr>
          <a:xfrm>
            <a:off x="2703226" y="0"/>
            <a:ext cx="9488774" cy="11267337"/>
          </a:xfrm>
          <a:prstGeom prst="rect">
            <a:avLst/>
          </a:prstGeom>
        </p:spPr>
      </p:pic>
      <p:sp>
        <p:nvSpPr>
          <p:cNvPr id="3" name="TextBox 2">
            <a:extLst>
              <a:ext uri="{FF2B5EF4-FFF2-40B4-BE49-F238E27FC236}">
                <a16:creationId xmlns:a16="http://schemas.microsoft.com/office/drawing/2014/main" id="{5B13116E-3BD3-46F0-A604-4C985B5E41CA}"/>
              </a:ext>
            </a:extLst>
          </p:cNvPr>
          <p:cNvSpPr txBox="1"/>
          <p:nvPr/>
        </p:nvSpPr>
        <p:spPr>
          <a:xfrm>
            <a:off x="0" y="958120"/>
            <a:ext cx="2703226" cy="1477328"/>
          </a:xfrm>
          <a:prstGeom prst="rect">
            <a:avLst/>
          </a:prstGeom>
          <a:noFill/>
        </p:spPr>
        <p:txBody>
          <a:bodyPr wrap="square" rtlCol="0">
            <a:spAutoFit/>
          </a:bodyPr>
          <a:lstStyle/>
          <a:p>
            <a:r>
              <a:rPr lang="en-US" dirty="0"/>
              <a:t>The VNU-UE School counseling master program required at least </a:t>
            </a:r>
            <a:r>
              <a:rPr lang="en-US" b="1" dirty="0"/>
              <a:t>600hr</a:t>
            </a:r>
            <a:r>
              <a:rPr lang="en-US" dirty="0"/>
              <a:t> practicum during academic training</a:t>
            </a:r>
          </a:p>
        </p:txBody>
      </p:sp>
    </p:spTree>
    <p:extLst>
      <p:ext uri="{BB962C8B-B14F-4D97-AF65-F5344CB8AC3E}">
        <p14:creationId xmlns:p14="http://schemas.microsoft.com/office/powerpoint/2010/main" val="16073513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02C31A5-6731-4F0E-90B2-B3B98FCA956D}"/>
              </a:ext>
            </a:extLst>
          </p:cNvPr>
          <p:cNvSpPr>
            <a:spLocks noGrp="1"/>
          </p:cNvSpPr>
          <p:nvPr>
            <p:ph type="title"/>
          </p:nvPr>
        </p:nvSpPr>
        <p:spPr>
          <a:xfrm>
            <a:off x="3045368" y="2043663"/>
            <a:ext cx="6105194" cy="2031055"/>
          </a:xfrm>
        </p:spPr>
        <p:txBody>
          <a:bodyPr vert="horz" lIns="91440" tIns="45720" rIns="91440" bIns="45720" rtlCol="0" anchor="b">
            <a:normAutofit fontScale="90000"/>
          </a:bodyPr>
          <a:lstStyle/>
          <a:p>
            <a:pPr algn="ctr"/>
            <a:r>
              <a:rPr lang="en-US" sz="6000" dirty="0">
                <a:solidFill>
                  <a:schemeClr val="bg1"/>
                </a:solidFill>
              </a:rPr>
              <a:t>Teacher certificated training program</a:t>
            </a:r>
          </a:p>
        </p:txBody>
      </p:sp>
    </p:spTree>
    <p:extLst>
      <p:ext uri="{BB962C8B-B14F-4D97-AF65-F5344CB8AC3E}">
        <p14:creationId xmlns:p14="http://schemas.microsoft.com/office/powerpoint/2010/main" val="1924732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499AD7B-99D4-4755-8966-F7BA042690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46920"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1A06F89A-489D-4383-94C5-42F7FF2E9A6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le 5">
            <a:extLst>
              <a:ext uri="{FF2B5EF4-FFF2-40B4-BE49-F238E27FC236}">
                <a16:creationId xmlns:a16="http://schemas.microsoft.com/office/drawing/2014/main" id="{6296AD05-0042-48E5-A9D6-879813897AC7}"/>
              </a:ext>
            </a:extLst>
          </p:cNvPr>
          <p:cNvSpPr>
            <a:spLocks noGrp="1"/>
          </p:cNvSpPr>
          <p:nvPr>
            <p:ph type="title"/>
          </p:nvPr>
        </p:nvSpPr>
        <p:spPr>
          <a:xfrm>
            <a:off x="640079" y="2023236"/>
            <a:ext cx="3659777" cy="2820908"/>
          </a:xfrm>
        </p:spPr>
        <p:txBody>
          <a:bodyPr>
            <a:normAutofit/>
          </a:bodyPr>
          <a:lstStyle/>
          <a:p>
            <a:r>
              <a:rPr lang="en-US" sz="4000">
                <a:solidFill>
                  <a:srgbClr val="FFFFFF"/>
                </a:solidFill>
              </a:rPr>
              <a:t>240 credit hours</a:t>
            </a:r>
            <a:br>
              <a:rPr lang="en-US" sz="4000">
                <a:solidFill>
                  <a:srgbClr val="FFFFFF"/>
                </a:solidFill>
              </a:rPr>
            </a:br>
            <a:r>
              <a:rPr lang="en-US" sz="4000">
                <a:solidFill>
                  <a:srgbClr val="FFFFFF"/>
                </a:solidFill>
              </a:rPr>
              <a:t>8 modules</a:t>
            </a:r>
          </a:p>
        </p:txBody>
      </p:sp>
      <p:graphicFrame>
        <p:nvGraphicFramePr>
          <p:cNvPr id="18" name="Content Placeholder 6">
            <a:extLst>
              <a:ext uri="{FF2B5EF4-FFF2-40B4-BE49-F238E27FC236}">
                <a16:creationId xmlns:a16="http://schemas.microsoft.com/office/drawing/2014/main" id="{DC810753-00D3-4E0C-93FB-A099DCDF528F}"/>
              </a:ext>
            </a:extLst>
          </p:cNvPr>
          <p:cNvGraphicFramePr>
            <a:graphicFrameLocks noGrp="1"/>
          </p:cNvGraphicFramePr>
          <p:nvPr>
            <p:ph idx="1"/>
            <p:extLst>
              <p:ext uri="{D42A27DB-BD31-4B8C-83A1-F6EECF244321}">
                <p14:modId xmlns:p14="http://schemas.microsoft.com/office/powerpoint/2010/main" val="1121984529"/>
              </p:ext>
            </p:extLst>
          </p:nvPr>
        </p:nvGraphicFramePr>
        <p:xfrm>
          <a:off x="6091238" y="134112"/>
          <a:ext cx="5661850" cy="66324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247950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02C31A5-6731-4F0E-90B2-B3B98FCA956D}"/>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sz="6000" dirty="0">
                <a:solidFill>
                  <a:schemeClr val="bg1"/>
                </a:solidFill>
              </a:rPr>
              <a:t>Teacher/Counselor support tools</a:t>
            </a:r>
          </a:p>
        </p:txBody>
      </p:sp>
    </p:spTree>
    <p:extLst>
      <p:ext uri="{BB962C8B-B14F-4D97-AF65-F5344CB8AC3E}">
        <p14:creationId xmlns:p14="http://schemas.microsoft.com/office/powerpoint/2010/main" val="20725532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55DA7F-E77A-4B3E-A419-4430D07ED34F}"/>
              </a:ext>
            </a:extLst>
          </p:cNvPr>
          <p:cNvPicPr>
            <a:picLocks noChangeAspect="1"/>
          </p:cNvPicPr>
          <p:nvPr/>
        </p:nvPicPr>
        <p:blipFill rotWithShape="1">
          <a:blip r:embed="rId3"/>
          <a:srcRect t="11359"/>
          <a:stretch/>
        </p:blipFill>
        <p:spPr>
          <a:xfrm>
            <a:off x="621792" y="1496291"/>
            <a:ext cx="10753344" cy="5361709"/>
          </a:xfrm>
          <a:prstGeom prst="rect">
            <a:avLst/>
          </a:prstGeom>
        </p:spPr>
      </p:pic>
      <p:sp>
        <p:nvSpPr>
          <p:cNvPr id="5" name="TextBox 4">
            <a:extLst>
              <a:ext uri="{FF2B5EF4-FFF2-40B4-BE49-F238E27FC236}">
                <a16:creationId xmlns:a16="http://schemas.microsoft.com/office/drawing/2014/main" id="{AB9A52A0-8475-4B9F-9CD7-1A90FC6F36B9}"/>
              </a:ext>
            </a:extLst>
          </p:cNvPr>
          <p:cNvSpPr txBox="1"/>
          <p:nvPr/>
        </p:nvSpPr>
        <p:spPr>
          <a:xfrm>
            <a:off x="1987296" y="224468"/>
            <a:ext cx="8217408" cy="584775"/>
          </a:xfrm>
          <a:prstGeom prst="rect">
            <a:avLst/>
          </a:prstGeom>
          <a:noFill/>
        </p:spPr>
        <p:txBody>
          <a:bodyPr wrap="square" rtlCol="0">
            <a:spAutoFit/>
          </a:bodyPr>
          <a:lstStyle/>
          <a:p>
            <a:pPr algn="ctr"/>
            <a:r>
              <a:rPr lang="en-US" sz="3200" b="1" dirty="0"/>
              <a:t>Teacher virtual assistant </a:t>
            </a:r>
          </a:p>
        </p:txBody>
      </p:sp>
    </p:spTree>
    <p:extLst>
      <p:ext uri="{BB962C8B-B14F-4D97-AF65-F5344CB8AC3E}">
        <p14:creationId xmlns:p14="http://schemas.microsoft.com/office/powerpoint/2010/main" val="1567642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1D805F-CDA1-430E-A025-F1867B25FFFF}"/>
              </a:ext>
            </a:extLst>
          </p:cNvPr>
          <p:cNvPicPr>
            <a:picLocks noChangeAspect="1"/>
          </p:cNvPicPr>
          <p:nvPr/>
        </p:nvPicPr>
        <p:blipFill rotWithShape="1">
          <a:blip r:embed="rId2"/>
          <a:srcRect t="12044"/>
          <a:stretch/>
        </p:blipFill>
        <p:spPr>
          <a:xfrm>
            <a:off x="499873" y="1163782"/>
            <a:ext cx="11509248" cy="5694218"/>
          </a:xfrm>
          <a:prstGeom prst="rect">
            <a:avLst/>
          </a:prstGeom>
        </p:spPr>
      </p:pic>
      <p:sp>
        <p:nvSpPr>
          <p:cNvPr id="5" name="TextBox 4">
            <a:extLst>
              <a:ext uri="{FF2B5EF4-FFF2-40B4-BE49-F238E27FC236}">
                <a16:creationId xmlns:a16="http://schemas.microsoft.com/office/drawing/2014/main" id="{75D4B00C-BD5D-48C5-AE49-047B433DF1E0}"/>
              </a:ext>
            </a:extLst>
          </p:cNvPr>
          <p:cNvSpPr txBox="1"/>
          <p:nvPr/>
        </p:nvSpPr>
        <p:spPr>
          <a:xfrm>
            <a:off x="2145793" y="238435"/>
            <a:ext cx="8217408" cy="584775"/>
          </a:xfrm>
          <a:prstGeom prst="rect">
            <a:avLst/>
          </a:prstGeom>
          <a:noFill/>
        </p:spPr>
        <p:txBody>
          <a:bodyPr wrap="square" rtlCol="0">
            <a:spAutoFit/>
          </a:bodyPr>
          <a:lstStyle/>
          <a:p>
            <a:pPr algn="ctr"/>
            <a:r>
              <a:rPr lang="en-US" sz="3200" b="1" dirty="0"/>
              <a:t>Psychological assessment system </a:t>
            </a:r>
          </a:p>
        </p:txBody>
      </p:sp>
    </p:spTree>
    <p:extLst>
      <p:ext uri="{BB962C8B-B14F-4D97-AF65-F5344CB8AC3E}">
        <p14:creationId xmlns:p14="http://schemas.microsoft.com/office/powerpoint/2010/main" val="30525450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Bild 67" descr="panthermedia_21345137_3840x2160.jpg"/>
          <p:cNvPicPr>
            <a:picLocks noChangeAspect="1"/>
          </p:cNvPicPr>
          <p:nvPr/>
        </p:nvPicPr>
        <p:blipFill rotWithShape="1">
          <a:blip r:embed="rId5" cstate="print">
            <a:extLst>
              <a:ext uri="{28A0092B-C50C-407E-A947-70E740481C1C}">
                <a14:useLocalDpi xmlns:a14="http://schemas.microsoft.com/office/drawing/2010/main" val="0"/>
              </a:ext>
            </a:extLst>
          </a:blip>
          <a:srcRect t="-1" r="636" b="1"/>
          <a:stretch/>
        </p:blipFill>
        <p:spPr>
          <a:xfrm>
            <a:off x="2" y="0"/>
            <a:ext cx="12191998" cy="6857999"/>
          </a:xfrm>
          <a:prstGeom prst="rect">
            <a:avLst/>
          </a:prstGeom>
        </p:spPr>
      </p:pic>
      <p:sp>
        <p:nvSpPr>
          <p:cNvPr id="66" name="Rectangle 1"/>
          <p:cNvSpPr/>
          <p:nvPr/>
        </p:nvSpPr>
        <p:spPr>
          <a:xfrm>
            <a:off x="0" y="2"/>
            <a:ext cx="12191999" cy="6857998"/>
          </a:xfrm>
          <a:prstGeom prst="rect">
            <a:avLst/>
          </a:prstGeom>
          <a:solidFill>
            <a:srgbClr val="000000">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graphicFrame>
        <p:nvGraphicFramePr>
          <p:cNvPr id="7" name="Object 6"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6" imgW="498" imgH="499" progId="TCLayout.ActiveDocument.1">
                  <p:embed/>
                </p:oleObj>
              </mc:Choice>
              <mc:Fallback>
                <p:oleObj name="think-cell Slide" r:id="rId6" imgW="498" imgH="499" progId="TCLayout.ActiveDocument.1">
                  <p:embed/>
                  <p:pic>
                    <p:nvPicPr>
                      <p:cNvPr id="7" name="Object 6"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B9F82F51-F39A-4240-B1FF-F97902F75CE5}"/>
              </a:ext>
            </a:extLst>
          </p:cNvPr>
          <p:cNvSpPr txBox="1">
            <a:spLocks/>
          </p:cNvSpPr>
          <p:nvPr/>
        </p:nvSpPr>
        <p:spPr>
          <a:xfrm>
            <a:off x="375803" y="1780046"/>
            <a:ext cx="11440391" cy="18146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5400" b="1" dirty="0">
                <a:solidFill>
                  <a:srgbClr val="F3BE1A"/>
                </a:solidFill>
                <a:latin typeface="Fira Sans"/>
                <a:ea typeface="Open Sans" panose="020B0606030504020204" pitchFamily="34" charset="0"/>
                <a:cs typeface="Open Sans" panose="020B0606030504020204" pitchFamily="34" charset="0"/>
              </a:rPr>
              <a:t>THANK YOU!</a:t>
            </a:r>
            <a:endParaRPr lang="de-DE" sz="5400" b="1" dirty="0">
              <a:solidFill>
                <a:schemeClr val="bg1"/>
              </a:solidFill>
              <a:latin typeface="Fira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507696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3" descr="A picture containing rain&#10;&#10;Description automatically generated">
            <a:extLst>
              <a:ext uri="{FF2B5EF4-FFF2-40B4-BE49-F238E27FC236}">
                <a16:creationId xmlns:a16="http://schemas.microsoft.com/office/drawing/2014/main" id="{DDB1443C-21F7-44CE-B11A-CB709F8ACB81}"/>
              </a:ext>
            </a:extLst>
          </p:cNvPr>
          <p:cNvPicPr>
            <a:picLocks noChangeAspect="1"/>
          </p:cNvPicPr>
          <p:nvPr/>
        </p:nvPicPr>
        <p:blipFill rotWithShape="1">
          <a:blip r:embed="rId2" cstate="print">
            <a:alphaModFix amt="35000"/>
            <a:extLst>
              <a:ext uri="{28A0092B-C50C-407E-A947-70E740481C1C}">
                <a14:useLocalDpi xmlns:a14="http://schemas.microsoft.com/office/drawing/2010/main" val="0"/>
              </a:ext>
            </a:extLst>
          </a:blip>
          <a:srcRect b="15730"/>
          <a:stretch/>
        </p:blipFill>
        <p:spPr>
          <a:xfrm>
            <a:off x="-1" y="10"/>
            <a:ext cx="12192000" cy="6857990"/>
          </a:xfrm>
          <a:prstGeom prst="rect">
            <a:avLst/>
          </a:prstGeom>
        </p:spPr>
      </p:pic>
      <p:sp>
        <p:nvSpPr>
          <p:cNvPr id="2" name="Title 1">
            <a:extLst>
              <a:ext uri="{FF2B5EF4-FFF2-40B4-BE49-F238E27FC236}">
                <a16:creationId xmlns:a16="http://schemas.microsoft.com/office/drawing/2014/main" id="{FD2D4BF7-E44B-44DA-BC19-3D6F03BDD63A}"/>
              </a:ext>
            </a:extLst>
          </p:cNvPr>
          <p:cNvSpPr>
            <a:spLocks noGrp="1"/>
          </p:cNvSpPr>
          <p:nvPr>
            <p:ph type="title"/>
          </p:nvPr>
        </p:nvSpPr>
        <p:spPr>
          <a:xfrm>
            <a:off x="838200" y="365125"/>
            <a:ext cx="10515600" cy="1325563"/>
          </a:xfrm>
        </p:spPr>
        <p:txBody>
          <a:bodyPr>
            <a:normAutofit/>
          </a:bodyPr>
          <a:lstStyle/>
          <a:p>
            <a:r>
              <a:rPr lang="en-US">
                <a:solidFill>
                  <a:srgbClr val="FFFFFF"/>
                </a:solidFill>
              </a:rPr>
              <a:t>The Need for a School counseling Training Program in Vietnam</a:t>
            </a:r>
          </a:p>
        </p:txBody>
      </p:sp>
      <p:sp>
        <p:nvSpPr>
          <p:cNvPr id="3" name="Content Placeholder 2">
            <a:extLst>
              <a:ext uri="{FF2B5EF4-FFF2-40B4-BE49-F238E27FC236}">
                <a16:creationId xmlns:a16="http://schemas.microsoft.com/office/drawing/2014/main" id="{8A94161F-92D5-4B8F-B00E-BE5796E53548}"/>
              </a:ext>
            </a:extLst>
          </p:cNvPr>
          <p:cNvSpPr>
            <a:spLocks noGrp="1"/>
          </p:cNvSpPr>
          <p:nvPr>
            <p:ph idx="1"/>
          </p:nvPr>
        </p:nvSpPr>
        <p:spPr>
          <a:xfrm>
            <a:off x="838200" y="1825625"/>
            <a:ext cx="10515600" cy="4667250"/>
          </a:xfrm>
        </p:spPr>
        <p:txBody>
          <a:bodyPr>
            <a:normAutofit lnSpcReduction="10000"/>
          </a:bodyPr>
          <a:lstStyle/>
          <a:p>
            <a:pPr algn="just"/>
            <a:r>
              <a:rPr lang="en-US" sz="2600" dirty="0">
                <a:solidFill>
                  <a:srgbClr val="FFFFFF"/>
                </a:solidFill>
              </a:rPr>
              <a:t>In contrast to the United States, where approximately 80.5% of school psychologists hold a specialist degree or higher (Fagan &amp; Wise, 2007), a bachelor’s degree is the highest degree that an estimated 70% of Vietnamese school-based practitioners have earned and the degrees vary (Jimerson et al., 2008). </a:t>
            </a:r>
          </a:p>
          <a:p>
            <a:pPr algn="just"/>
            <a:r>
              <a:rPr lang="en-US" sz="2600" dirty="0" err="1">
                <a:solidFill>
                  <a:srgbClr val="FFFFFF"/>
                </a:solidFill>
              </a:rPr>
              <a:t>imerson</a:t>
            </a:r>
            <a:r>
              <a:rPr lang="en-US" sz="2600" dirty="0">
                <a:solidFill>
                  <a:srgbClr val="FFFFFF"/>
                </a:solidFill>
              </a:rPr>
              <a:t> and colleagues (2008) found that an estimated 50% of practitioners obtained degrees in psychology, while 30% earned degrees in education, and the remaining 20% studied diverse subjects. </a:t>
            </a:r>
          </a:p>
          <a:p>
            <a:pPr algn="just"/>
            <a:r>
              <a:rPr lang="en-US" sz="2600" dirty="0">
                <a:solidFill>
                  <a:srgbClr val="FFFFFF"/>
                </a:solidFill>
              </a:rPr>
              <a:t>Do (2006) (as cited in Le, 2009) found that most school counselors graduated in programs unrelated to psychology. </a:t>
            </a:r>
          </a:p>
          <a:p>
            <a:pPr algn="just"/>
            <a:r>
              <a:rPr lang="en-US" sz="2600" dirty="0">
                <a:solidFill>
                  <a:srgbClr val="FFFFFF"/>
                </a:solidFill>
              </a:rPr>
              <a:t>Only one bachelor training program in Psychology (School psychology oriented), offered by Hanoi National University of Education (start from 2010)</a:t>
            </a:r>
          </a:p>
        </p:txBody>
      </p:sp>
    </p:spTree>
    <p:extLst>
      <p:ext uri="{BB962C8B-B14F-4D97-AF65-F5344CB8AC3E}">
        <p14:creationId xmlns:p14="http://schemas.microsoft.com/office/powerpoint/2010/main" val="1694263157"/>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247" t="-184" b="17057"/>
          <a:stretch/>
        </p:blipFill>
        <p:spPr>
          <a:xfrm>
            <a:off x="-213360" y="-18162"/>
            <a:ext cx="12405360" cy="6876162"/>
          </a:xfrm>
          <a:prstGeom prst="rect">
            <a:avLst/>
          </a:prstGeom>
        </p:spPr>
      </p:pic>
      <p:pic>
        <p:nvPicPr>
          <p:cNvPr id="51" name="Picture 2" descr="Related image">
            <a:extLst>
              <a:ext uri="{FF2B5EF4-FFF2-40B4-BE49-F238E27FC236}">
                <a16:creationId xmlns:a16="http://schemas.microsoft.com/office/drawing/2014/main" id="{63709904-887C-4325-86B8-7F357C0FC1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6451" y="11888"/>
            <a:ext cx="9476116" cy="6787268"/>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299078" y="-624039"/>
            <a:ext cx="3213828" cy="3423684"/>
            <a:chOff x="87002" y="-624039"/>
            <a:chExt cx="3213828" cy="3423684"/>
          </a:xfrm>
        </p:grpSpPr>
        <p:sp>
          <p:nvSpPr>
            <p:cNvPr id="4" name="Freeform 5"/>
            <p:cNvSpPr>
              <a:spLocks/>
            </p:cNvSpPr>
            <p:nvPr/>
          </p:nvSpPr>
          <p:spPr bwMode="auto">
            <a:xfrm>
              <a:off x="87002" y="-624039"/>
              <a:ext cx="3001044" cy="3423684"/>
            </a:xfrm>
            <a:custGeom>
              <a:avLst/>
              <a:gdLst>
                <a:gd name="T0" fmla="*/ 318 w 341"/>
                <a:gd name="T1" fmla="*/ 303 h 383"/>
                <a:gd name="T2" fmla="*/ 193 w 341"/>
                <a:gd name="T3" fmla="*/ 375 h 383"/>
                <a:gd name="T4" fmla="*/ 148 w 341"/>
                <a:gd name="T5" fmla="*/ 375 h 383"/>
                <a:gd name="T6" fmla="*/ 23 w 341"/>
                <a:gd name="T7" fmla="*/ 303 h 383"/>
                <a:gd name="T8" fmla="*/ 0 w 341"/>
                <a:gd name="T9" fmla="*/ 264 h 383"/>
                <a:gd name="T10" fmla="*/ 0 w 341"/>
                <a:gd name="T11" fmla="*/ 120 h 383"/>
                <a:gd name="T12" fmla="*/ 23 w 341"/>
                <a:gd name="T13" fmla="*/ 80 h 383"/>
                <a:gd name="T14" fmla="*/ 148 w 341"/>
                <a:gd name="T15" fmla="*/ 8 h 383"/>
                <a:gd name="T16" fmla="*/ 193 w 341"/>
                <a:gd name="T17" fmla="*/ 8 h 383"/>
                <a:gd name="T18" fmla="*/ 318 w 341"/>
                <a:gd name="T19" fmla="*/ 80 h 383"/>
                <a:gd name="T20" fmla="*/ 341 w 341"/>
                <a:gd name="T21" fmla="*/ 120 h 383"/>
                <a:gd name="T22" fmla="*/ 341 w 341"/>
                <a:gd name="T23" fmla="*/ 264 h 383"/>
                <a:gd name="T24" fmla="*/ 318 w 341"/>
                <a:gd name="T25" fmla="*/ 30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383">
                  <a:moveTo>
                    <a:pt x="318" y="303"/>
                  </a:moveTo>
                  <a:cubicBezTo>
                    <a:pt x="193" y="375"/>
                    <a:pt x="193" y="375"/>
                    <a:pt x="193" y="375"/>
                  </a:cubicBezTo>
                  <a:cubicBezTo>
                    <a:pt x="179" y="383"/>
                    <a:pt x="162" y="383"/>
                    <a:pt x="148" y="375"/>
                  </a:cubicBezTo>
                  <a:cubicBezTo>
                    <a:pt x="23" y="303"/>
                    <a:pt x="23" y="303"/>
                    <a:pt x="23" y="303"/>
                  </a:cubicBezTo>
                  <a:cubicBezTo>
                    <a:pt x="9" y="295"/>
                    <a:pt x="0" y="280"/>
                    <a:pt x="0" y="264"/>
                  </a:cubicBezTo>
                  <a:cubicBezTo>
                    <a:pt x="0" y="120"/>
                    <a:pt x="0" y="120"/>
                    <a:pt x="0" y="120"/>
                  </a:cubicBezTo>
                  <a:cubicBezTo>
                    <a:pt x="0" y="103"/>
                    <a:pt x="9" y="88"/>
                    <a:pt x="23" y="80"/>
                  </a:cubicBezTo>
                  <a:cubicBezTo>
                    <a:pt x="148" y="8"/>
                    <a:pt x="148" y="8"/>
                    <a:pt x="148" y="8"/>
                  </a:cubicBezTo>
                  <a:cubicBezTo>
                    <a:pt x="162" y="0"/>
                    <a:pt x="179" y="0"/>
                    <a:pt x="193" y="8"/>
                  </a:cubicBezTo>
                  <a:cubicBezTo>
                    <a:pt x="318" y="80"/>
                    <a:pt x="318" y="80"/>
                    <a:pt x="318" y="80"/>
                  </a:cubicBezTo>
                  <a:cubicBezTo>
                    <a:pt x="332" y="88"/>
                    <a:pt x="341" y="103"/>
                    <a:pt x="341" y="120"/>
                  </a:cubicBezTo>
                  <a:cubicBezTo>
                    <a:pt x="341" y="264"/>
                    <a:pt x="341" y="264"/>
                    <a:pt x="341" y="264"/>
                  </a:cubicBezTo>
                  <a:cubicBezTo>
                    <a:pt x="341" y="280"/>
                    <a:pt x="332" y="295"/>
                    <a:pt x="318" y="303"/>
                  </a:cubicBezTo>
                </a:path>
              </a:pathLst>
            </a:custGeom>
            <a:solidFill>
              <a:srgbClr val="00658B">
                <a:alpha val="84000"/>
              </a:srgbClr>
            </a:solidFill>
            <a:ln>
              <a:noFill/>
            </a:ln>
            <a:effectLst>
              <a:outerShdw blurRad="203200" sx="102000" sy="102000" algn="ctr" rotWithShape="0">
                <a:prstClr val="black">
                  <a:alpha val="64000"/>
                </a:prstClr>
              </a:outerShdw>
            </a:effectLst>
          </p:spPr>
          <p:txBody>
            <a:bodyPr vert="horz" wrap="square" lIns="51435" tIns="25718" rIns="51435" bIns="25718" numCol="1" anchor="t" anchorCtr="0" compatLnSpc="1">
              <a:prstTxWarp prst="textNoShape">
                <a:avLst/>
              </a:prstTxWarp>
            </a:bodyPr>
            <a:lstStyle/>
            <a:p>
              <a:endParaRPr lang="en-US" sz="1013">
                <a:latin typeface="Arial" panose="020B0604020202020204" pitchFamily="34" charset="0"/>
                <a:cs typeface="Arial" panose="020B0604020202020204" pitchFamily="34" charset="0"/>
              </a:endParaRPr>
            </a:p>
          </p:txBody>
        </p:sp>
        <p:sp>
          <p:nvSpPr>
            <p:cNvPr id="12" name="Rectangle 11"/>
            <p:cNvSpPr/>
            <p:nvPr/>
          </p:nvSpPr>
          <p:spPr>
            <a:xfrm>
              <a:off x="208347" y="186550"/>
              <a:ext cx="3092483" cy="954107"/>
            </a:xfrm>
            <a:prstGeom prst="rect">
              <a:avLst/>
            </a:prstGeom>
          </p:spPr>
          <p:txBody>
            <a:bodyPr wrap="square">
              <a:spAutoFit/>
            </a:bodyPr>
            <a:lstStyle/>
            <a:p>
              <a:pPr algn="ctr"/>
              <a:r>
                <a:rPr lang="en-US" sz="2800" b="1" dirty="0">
                  <a:solidFill>
                    <a:schemeClr val="bg1"/>
                  </a:solidFill>
                  <a:latin typeface="Arial" panose="020B0604020202020204" pitchFamily="34" charset="0"/>
                  <a:ea typeface="Fira Sans" charset="0"/>
                  <a:cs typeface="Arial" panose="020B0604020202020204" pitchFamily="34" charset="0"/>
                </a:rPr>
                <a:t>3-tier model of intervention</a:t>
              </a:r>
              <a:endParaRPr lang="de-DE" sz="2800" b="1" dirty="0">
                <a:solidFill>
                  <a:schemeClr val="bg1"/>
                </a:solidFill>
                <a:latin typeface="Arial" panose="020B0604020202020204" pitchFamily="34" charset="0"/>
                <a:ea typeface="Fira Sans" charset="0"/>
                <a:cs typeface="Arial" panose="020B0604020202020204" pitchFamily="34" charset="0"/>
              </a:endParaRPr>
            </a:p>
          </p:txBody>
        </p:sp>
      </p:grpSp>
    </p:spTree>
    <p:extLst>
      <p:ext uri="{BB962C8B-B14F-4D97-AF65-F5344CB8AC3E}">
        <p14:creationId xmlns:p14="http://schemas.microsoft.com/office/powerpoint/2010/main" val="3896360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anim calcmode="lin" valueType="num">
                                      <p:cBhvr>
                                        <p:cTn id="8" dur="250" fill="hold"/>
                                        <p:tgtEl>
                                          <p:spTgt spid="3"/>
                                        </p:tgtEl>
                                        <p:attrNameLst>
                                          <p:attrName>ppt_x</p:attrName>
                                        </p:attrNameLst>
                                      </p:cBhvr>
                                      <p:tavLst>
                                        <p:tav tm="0">
                                          <p:val>
                                            <p:strVal val="#ppt_x"/>
                                          </p:val>
                                        </p:tav>
                                        <p:tav tm="100000">
                                          <p:val>
                                            <p:strVal val="#ppt_x"/>
                                          </p:val>
                                        </p:tav>
                                      </p:tavLst>
                                    </p:anim>
                                    <p:anim calcmode="lin" valueType="num">
                                      <p:cBhvr>
                                        <p:cTn id="9" dur="25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3" descr="A picture containing rain&#10;&#10;Description automatically generated">
            <a:extLst>
              <a:ext uri="{FF2B5EF4-FFF2-40B4-BE49-F238E27FC236}">
                <a16:creationId xmlns:a16="http://schemas.microsoft.com/office/drawing/2014/main" id="{DDB1443C-21F7-44CE-B11A-CB709F8ACB81}"/>
              </a:ext>
            </a:extLst>
          </p:cNvPr>
          <p:cNvPicPr>
            <a:picLocks noChangeAspect="1"/>
          </p:cNvPicPr>
          <p:nvPr/>
        </p:nvPicPr>
        <p:blipFill rotWithShape="1">
          <a:blip r:embed="rId3" cstate="print">
            <a:alphaModFix amt="35000"/>
            <a:extLst>
              <a:ext uri="{28A0092B-C50C-407E-A947-70E740481C1C}">
                <a14:useLocalDpi xmlns:a14="http://schemas.microsoft.com/office/drawing/2010/main" val="0"/>
              </a:ext>
            </a:extLst>
          </a:blip>
          <a:srcRect b="15730"/>
          <a:stretch/>
        </p:blipFill>
        <p:spPr>
          <a:xfrm>
            <a:off x="-1" y="10"/>
            <a:ext cx="12192000" cy="6857990"/>
          </a:xfrm>
          <a:prstGeom prst="rect">
            <a:avLst/>
          </a:prstGeom>
        </p:spPr>
      </p:pic>
      <p:sp>
        <p:nvSpPr>
          <p:cNvPr id="2" name="Title 1">
            <a:extLst>
              <a:ext uri="{FF2B5EF4-FFF2-40B4-BE49-F238E27FC236}">
                <a16:creationId xmlns:a16="http://schemas.microsoft.com/office/drawing/2014/main" id="{E4D2CD0E-3D1E-4E4A-9402-0203444C6889}"/>
              </a:ext>
            </a:extLst>
          </p:cNvPr>
          <p:cNvSpPr>
            <a:spLocks noGrp="1"/>
          </p:cNvSpPr>
          <p:nvPr>
            <p:ph type="title"/>
          </p:nvPr>
        </p:nvSpPr>
        <p:spPr>
          <a:xfrm>
            <a:off x="838200" y="365125"/>
            <a:ext cx="10515600" cy="1325563"/>
          </a:xfrm>
        </p:spPr>
        <p:txBody>
          <a:bodyPr>
            <a:normAutofit/>
          </a:bodyPr>
          <a:lstStyle/>
          <a:p>
            <a:r>
              <a:rPr lang="en-US" b="1">
                <a:solidFill>
                  <a:srgbClr val="FFFFFF"/>
                </a:solidFill>
              </a:rPr>
              <a:t>VNU-UE develop the training program model</a:t>
            </a:r>
          </a:p>
        </p:txBody>
      </p:sp>
      <p:graphicFrame>
        <p:nvGraphicFramePr>
          <p:cNvPr id="4" name="Content Placeholder 3">
            <a:extLst>
              <a:ext uri="{FF2B5EF4-FFF2-40B4-BE49-F238E27FC236}">
                <a16:creationId xmlns:a16="http://schemas.microsoft.com/office/drawing/2014/main" id="{CB58AE11-E3C1-4A66-B73D-CB578012D131}"/>
              </a:ext>
            </a:extLst>
          </p:cNvPr>
          <p:cNvGraphicFramePr>
            <a:graphicFrameLocks noGrp="1"/>
          </p:cNvGraphicFramePr>
          <p:nvPr>
            <p:ph idx="1"/>
            <p:extLst>
              <p:ext uri="{D42A27DB-BD31-4B8C-83A1-F6EECF244321}">
                <p14:modId xmlns:p14="http://schemas.microsoft.com/office/powerpoint/2010/main" val="3752682190"/>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578077989"/>
      </p:ext>
    </p:extLst>
  </p:cSld>
  <p:clrMapOvr>
    <a:overrideClrMapping bg1="dk1" tx1="lt1" bg2="dk2" tx2="lt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3" descr="A picture containing rain&#10;&#10;Description automatically generated">
            <a:extLst>
              <a:ext uri="{FF2B5EF4-FFF2-40B4-BE49-F238E27FC236}">
                <a16:creationId xmlns:a16="http://schemas.microsoft.com/office/drawing/2014/main" id="{DDB1443C-21F7-44CE-B11A-CB709F8ACB81}"/>
              </a:ext>
            </a:extLst>
          </p:cNvPr>
          <p:cNvPicPr>
            <a:picLocks noChangeAspect="1"/>
          </p:cNvPicPr>
          <p:nvPr/>
        </p:nvPicPr>
        <p:blipFill rotWithShape="1">
          <a:blip r:embed="rId2" cstate="print">
            <a:alphaModFix amt="35000"/>
            <a:extLst>
              <a:ext uri="{28A0092B-C50C-407E-A947-70E740481C1C}">
                <a14:useLocalDpi xmlns:a14="http://schemas.microsoft.com/office/drawing/2010/main" val="0"/>
              </a:ext>
            </a:extLst>
          </a:blip>
          <a:srcRect b="15730"/>
          <a:stretch/>
        </p:blipFill>
        <p:spPr>
          <a:xfrm>
            <a:off x="44379" y="-29480"/>
            <a:ext cx="12192000" cy="6857990"/>
          </a:xfrm>
          <a:prstGeom prst="rect">
            <a:avLst/>
          </a:prstGeom>
        </p:spPr>
      </p:pic>
      <p:sp>
        <p:nvSpPr>
          <p:cNvPr id="2" name="Title 1">
            <a:extLst>
              <a:ext uri="{FF2B5EF4-FFF2-40B4-BE49-F238E27FC236}">
                <a16:creationId xmlns:a16="http://schemas.microsoft.com/office/drawing/2014/main" id="{FD2D4BF7-E44B-44DA-BC19-3D6F03BDD63A}"/>
              </a:ext>
            </a:extLst>
          </p:cNvPr>
          <p:cNvSpPr>
            <a:spLocks noGrp="1"/>
          </p:cNvSpPr>
          <p:nvPr>
            <p:ph type="title"/>
          </p:nvPr>
        </p:nvSpPr>
        <p:spPr>
          <a:xfrm>
            <a:off x="1105569" y="40269"/>
            <a:ext cx="10515600" cy="1033364"/>
          </a:xfrm>
        </p:spPr>
        <p:txBody>
          <a:bodyPr>
            <a:normAutofit/>
          </a:bodyPr>
          <a:lstStyle/>
          <a:p>
            <a:r>
              <a:rPr lang="en-US" dirty="0">
                <a:solidFill>
                  <a:srgbClr val="FFFFFF"/>
                </a:solidFill>
              </a:rPr>
              <a:t>Benchmark Outcome of training models</a:t>
            </a:r>
          </a:p>
        </p:txBody>
      </p:sp>
      <p:pic>
        <p:nvPicPr>
          <p:cNvPr id="7" name="Picture 6">
            <a:extLst>
              <a:ext uri="{FF2B5EF4-FFF2-40B4-BE49-F238E27FC236}">
                <a16:creationId xmlns:a16="http://schemas.microsoft.com/office/drawing/2014/main" id="{69388C24-A130-4664-B482-57643DD07886}"/>
              </a:ext>
            </a:extLst>
          </p:cNvPr>
          <p:cNvPicPr>
            <a:picLocks noChangeAspect="1"/>
          </p:cNvPicPr>
          <p:nvPr/>
        </p:nvPicPr>
        <p:blipFill>
          <a:blip r:embed="rId3"/>
          <a:stretch>
            <a:fillRect/>
          </a:stretch>
        </p:blipFill>
        <p:spPr>
          <a:xfrm>
            <a:off x="29389" y="2387382"/>
            <a:ext cx="12147621" cy="3396986"/>
          </a:xfrm>
          <a:prstGeom prst="rect">
            <a:avLst/>
          </a:prstGeom>
        </p:spPr>
      </p:pic>
      <p:sp>
        <p:nvSpPr>
          <p:cNvPr id="8" name="Rectangle 7">
            <a:extLst>
              <a:ext uri="{FF2B5EF4-FFF2-40B4-BE49-F238E27FC236}">
                <a16:creationId xmlns:a16="http://schemas.microsoft.com/office/drawing/2014/main" id="{BCA9B44A-5367-4CB1-8713-E3A429FD4522}"/>
              </a:ext>
            </a:extLst>
          </p:cNvPr>
          <p:cNvSpPr/>
          <p:nvPr/>
        </p:nvSpPr>
        <p:spPr>
          <a:xfrm>
            <a:off x="556929" y="5784373"/>
            <a:ext cx="11612880" cy="830997"/>
          </a:xfrm>
          <a:prstGeom prst="rect">
            <a:avLst/>
          </a:prstGeom>
        </p:spPr>
        <p:txBody>
          <a:bodyPr wrap="square">
            <a:spAutoFit/>
          </a:bodyPr>
          <a:lstStyle/>
          <a:p>
            <a:r>
              <a:rPr lang="en-US" sz="2400" dirty="0"/>
              <a:t>VNU-UE graduate training program have two track, one is research oriented; another is practice oriented </a:t>
            </a:r>
          </a:p>
        </p:txBody>
      </p:sp>
      <p:sp>
        <p:nvSpPr>
          <p:cNvPr id="9" name="Rectangle 8">
            <a:extLst>
              <a:ext uri="{FF2B5EF4-FFF2-40B4-BE49-F238E27FC236}">
                <a16:creationId xmlns:a16="http://schemas.microsoft.com/office/drawing/2014/main" id="{056F370B-B68F-4C2C-A31A-7043566F076F}"/>
              </a:ext>
            </a:extLst>
          </p:cNvPr>
          <p:cNvSpPr/>
          <p:nvPr/>
        </p:nvSpPr>
        <p:spPr>
          <a:xfrm>
            <a:off x="200253" y="1134039"/>
            <a:ext cx="11880252" cy="923330"/>
          </a:xfrm>
          <a:prstGeom prst="rect">
            <a:avLst/>
          </a:prstGeom>
        </p:spPr>
        <p:txBody>
          <a:bodyPr wrap="square">
            <a:spAutoFit/>
          </a:bodyPr>
          <a:lstStyle/>
          <a:p>
            <a:pPr marL="285750" indent="-285750" algn="just"/>
            <a:r>
              <a:rPr lang="en-US" i="1" dirty="0">
                <a:latin typeface="Arial" panose="020B0604020202020204" pitchFamily="34" charset="0"/>
                <a:cs typeface="Arial" panose="020B0604020202020204" pitchFamily="34" charset="0"/>
              </a:rPr>
              <a:t>Benchmark the outcome standards National Association of School Psychologists (NASP);  </a:t>
            </a:r>
            <a:r>
              <a:rPr lang="vi-VN" i="1" dirty="0">
                <a:cs typeface="Arial" panose="020B0604020202020204" pitchFamily="34" charset="0"/>
              </a:rPr>
              <a:t>American School Counseling Associations</a:t>
            </a:r>
            <a:r>
              <a:rPr lang="en-US" i="1" dirty="0">
                <a:latin typeface="Arial" panose="020B0604020202020204" pitchFamily="34" charset="0"/>
                <a:cs typeface="Arial" panose="020B0604020202020204" pitchFamily="34" charset="0"/>
              </a:rPr>
              <a:t> (ASCA) and </a:t>
            </a:r>
            <a:r>
              <a:rPr lang="vi-VN" i="1" dirty="0">
                <a:cs typeface="Arial" panose="020B0604020202020204" pitchFamily="34" charset="0"/>
              </a:rPr>
              <a:t>Council on the Accreditation of Counseling and Related Educational Programs</a:t>
            </a:r>
            <a:r>
              <a:rPr lang="en-US" i="1" dirty="0">
                <a:latin typeface="Arial" panose="020B0604020202020204" pitchFamily="34" charset="0"/>
                <a:cs typeface="Arial" panose="020B0604020202020204" pitchFamily="34" charset="0"/>
              </a:rPr>
              <a:t> (CACREP)…</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3254495"/>
      </p:ext>
    </p:extLst>
  </p:cSld>
  <p:clrMapOvr>
    <a:overrideClrMapping bg1="dk1" tx1="lt1" bg2="dk2" tx2="lt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3" descr="A picture containing rain&#10;&#10;Description automatically generated">
            <a:extLst>
              <a:ext uri="{FF2B5EF4-FFF2-40B4-BE49-F238E27FC236}">
                <a16:creationId xmlns:a16="http://schemas.microsoft.com/office/drawing/2014/main" id="{DDB1443C-21F7-44CE-B11A-CB709F8ACB81}"/>
              </a:ext>
            </a:extLst>
          </p:cNvPr>
          <p:cNvPicPr>
            <a:picLocks noChangeAspect="1"/>
          </p:cNvPicPr>
          <p:nvPr/>
        </p:nvPicPr>
        <p:blipFill rotWithShape="1">
          <a:blip r:embed="rId2" cstate="print">
            <a:alphaModFix amt="35000"/>
            <a:extLst>
              <a:ext uri="{28A0092B-C50C-407E-A947-70E740481C1C}">
                <a14:useLocalDpi xmlns:a14="http://schemas.microsoft.com/office/drawing/2010/main" val="0"/>
              </a:ext>
            </a:extLst>
          </a:blip>
          <a:srcRect b="15730"/>
          <a:stretch/>
        </p:blipFill>
        <p:spPr>
          <a:xfrm>
            <a:off x="-1" y="10"/>
            <a:ext cx="12192000" cy="6857990"/>
          </a:xfrm>
          <a:prstGeom prst="rect">
            <a:avLst/>
          </a:prstGeom>
        </p:spPr>
      </p:pic>
      <p:sp>
        <p:nvSpPr>
          <p:cNvPr id="2" name="Title 1">
            <a:extLst>
              <a:ext uri="{FF2B5EF4-FFF2-40B4-BE49-F238E27FC236}">
                <a16:creationId xmlns:a16="http://schemas.microsoft.com/office/drawing/2014/main" id="{FD2D4BF7-E44B-44DA-BC19-3D6F03BDD63A}"/>
              </a:ext>
            </a:extLst>
          </p:cNvPr>
          <p:cNvSpPr>
            <a:spLocks noGrp="1"/>
          </p:cNvSpPr>
          <p:nvPr>
            <p:ph type="title"/>
          </p:nvPr>
        </p:nvSpPr>
        <p:spPr>
          <a:xfrm>
            <a:off x="838200" y="365125"/>
            <a:ext cx="10515600" cy="1325563"/>
          </a:xfrm>
        </p:spPr>
        <p:txBody>
          <a:bodyPr>
            <a:normAutofit/>
          </a:bodyPr>
          <a:lstStyle/>
          <a:p>
            <a:r>
              <a:rPr lang="en-US" dirty="0">
                <a:solidFill>
                  <a:srgbClr val="FFFFFF"/>
                </a:solidFill>
              </a:rPr>
              <a:t>Benchmark foundational and functional competencies</a:t>
            </a:r>
          </a:p>
        </p:txBody>
      </p:sp>
      <p:sp>
        <p:nvSpPr>
          <p:cNvPr id="3" name="Content Placeholder 2">
            <a:extLst>
              <a:ext uri="{FF2B5EF4-FFF2-40B4-BE49-F238E27FC236}">
                <a16:creationId xmlns:a16="http://schemas.microsoft.com/office/drawing/2014/main" id="{8A94161F-92D5-4B8F-B00E-BE5796E53548}"/>
              </a:ext>
            </a:extLst>
          </p:cNvPr>
          <p:cNvSpPr>
            <a:spLocks noGrp="1"/>
          </p:cNvSpPr>
          <p:nvPr>
            <p:ph idx="1"/>
          </p:nvPr>
        </p:nvSpPr>
        <p:spPr>
          <a:xfrm>
            <a:off x="502920" y="1825625"/>
            <a:ext cx="11170920" cy="4351338"/>
          </a:xfrm>
        </p:spPr>
        <p:txBody>
          <a:bodyPr>
            <a:normAutofit/>
          </a:bodyPr>
          <a:lstStyle/>
          <a:p>
            <a:pPr marL="0" indent="0" algn="just">
              <a:buNone/>
            </a:pPr>
            <a:r>
              <a:rPr lang="en-US" sz="2400" i="1" dirty="0">
                <a:latin typeface="Arial" panose="020B0604020202020204" pitchFamily="34" charset="0"/>
                <a:cs typeface="Arial" panose="020B0604020202020204" pitchFamily="34" charset="0"/>
              </a:rPr>
              <a:t>Benchmark </a:t>
            </a:r>
            <a:r>
              <a:rPr lang="en-GB" dirty="0"/>
              <a:t>on 6 domains (including knowledge, skills and attitude) </a:t>
            </a:r>
          </a:p>
          <a:p>
            <a:pPr marL="285750" indent="-285750" algn="just"/>
            <a:r>
              <a:rPr lang="en-GB" dirty="0"/>
              <a:t>assessment, </a:t>
            </a:r>
          </a:p>
          <a:p>
            <a:pPr marL="285750" indent="-285750" algn="just"/>
            <a:r>
              <a:rPr lang="en-GB" dirty="0"/>
              <a:t>intervention, </a:t>
            </a:r>
          </a:p>
          <a:p>
            <a:pPr marL="285750" indent="-285750" algn="just"/>
            <a:r>
              <a:rPr lang="en-GB" dirty="0"/>
              <a:t>consultation, </a:t>
            </a:r>
          </a:p>
          <a:p>
            <a:pPr marL="285750" indent="-285750" algn="just"/>
            <a:r>
              <a:rPr lang="en-GB" dirty="0"/>
              <a:t>research, </a:t>
            </a:r>
          </a:p>
          <a:p>
            <a:pPr marL="285750" indent="-285750" algn="just"/>
            <a:r>
              <a:rPr lang="en-GB" dirty="0"/>
              <a:t>supervision/teaching and </a:t>
            </a:r>
          </a:p>
          <a:p>
            <a:pPr marL="285750" indent="-285750" algn="just"/>
            <a:r>
              <a:rPr lang="en-GB" dirty="0"/>
              <a:t>management/administration</a:t>
            </a:r>
          </a:p>
          <a:p>
            <a:pPr marL="285750" indent="-285750" algn="just"/>
            <a:r>
              <a:rPr lang="en-GB" sz="2400" dirty="0">
                <a:latin typeface="Arial" panose="020B0604020202020204" pitchFamily="34" charset="0"/>
                <a:cs typeface="Arial" panose="020B0604020202020204" pitchFamily="34" charset="0"/>
              </a:rPr>
              <a:t>Advocacy </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4802246"/>
      </p:ext>
    </p:extLst>
  </p:cSld>
  <p:clrMapOvr>
    <a:overrideClrMapping bg1="dk1" tx1="lt1" bg2="dk2" tx2="lt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5168E7B-6D42-4B3A-B7A1-17D4C49EC9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98A030C2-9F23-4593-9F99-7B73C232A4C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02C31A5-6731-4F0E-90B2-B3B98FCA956D}"/>
              </a:ext>
            </a:extLst>
          </p:cNvPr>
          <p:cNvSpPr>
            <a:spLocks noGrp="1"/>
          </p:cNvSpPr>
          <p:nvPr>
            <p:ph type="title"/>
          </p:nvPr>
        </p:nvSpPr>
        <p:spPr>
          <a:xfrm>
            <a:off x="2726432" y="1741337"/>
            <a:ext cx="6739136" cy="1001863"/>
          </a:xfrm>
        </p:spPr>
        <p:txBody>
          <a:bodyPr vert="horz" lIns="91440" tIns="45720" rIns="91440" bIns="45720" rtlCol="0" anchor="b">
            <a:normAutofit fontScale="90000"/>
          </a:bodyPr>
          <a:lstStyle/>
          <a:p>
            <a:pPr algn="ctr"/>
            <a:r>
              <a:rPr lang="en-US" sz="6600" kern="1200" dirty="0">
                <a:solidFill>
                  <a:srgbClr val="FFFFFF"/>
                </a:solidFill>
                <a:latin typeface="+mj-lt"/>
                <a:ea typeface="+mj-ea"/>
                <a:cs typeface="+mj-cs"/>
              </a:rPr>
              <a:t>Benchmark curriculum</a:t>
            </a:r>
          </a:p>
        </p:txBody>
      </p:sp>
      <p:sp>
        <p:nvSpPr>
          <p:cNvPr id="3" name="Rectangle 2">
            <a:extLst>
              <a:ext uri="{FF2B5EF4-FFF2-40B4-BE49-F238E27FC236}">
                <a16:creationId xmlns:a16="http://schemas.microsoft.com/office/drawing/2014/main" id="{7269A803-7615-49BC-B089-A39DE444AA9A}"/>
              </a:ext>
            </a:extLst>
          </p:cNvPr>
          <p:cNvSpPr/>
          <p:nvPr/>
        </p:nvSpPr>
        <p:spPr>
          <a:xfrm>
            <a:off x="2304288" y="2974170"/>
            <a:ext cx="7717536" cy="1754326"/>
          </a:xfrm>
          <a:prstGeom prst="rect">
            <a:avLst/>
          </a:prstGeom>
        </p:spPr>
        <p:txBody>
          <a:bodyPr wrap="square">
            <a:spAutoFit/>
          </a:bodyPr>
          <a:lstStyle/>
          <a:p>
            <a:pPr algn="just"/>
            <a:r>
              <a:rPr lang="en-US" dirty="0">
                <a:solidFill>
                  <a:schemeClr val="bg1"/>
                </a:solidFill>
                <a:latin typeface="Arial" panose="020B0604020202020204" pitchFamily="34" charset="0"/>
                <a:cs typeface="Arial" panose="020B0604020202020204" pitchFamily="34" charset="0"/>
              </a:rPr>
              <a:t>(According to NASP) curriculum of the school counseling training programs are usually include: (</a:t>
            </a:r>
            <a:r>
              <a:rPr lang="en-US" dirty="0" err="1">
                <a:solidFill>
                  <a:schemeClr val="bg1"/>
                </a:solidFill>
                <a:latin typeface="Arial" panose="020B0604020202020204" pitchFamily="34" charset="0"/>
                <a:cs typeface="Arial" panose="020B0604020202020204" pitchFamily="34" charset="0"/>
              </a:rPr>
              <a:t>i</a:t>
            </a:r>
            <a:r>
              <a:rPr lang="en-US" dirty="0">
                <a:solidFill>
                  <a:schemeClr val="bg1"/>
                </a:solidFill>
                <a:latin typeface="Arial" panose="020B0604020202020204" pitchFamily="34" charset="0"/>
                <a:cs typeface="Arial" panose="020B0604020202020204" pitchFamily="34" charset="0"/>
              </a:rPr>
              <a:t>) general knowledge block, (ii) specialized subjects: scientific research; general introduction; psychological counseling; psychological tests, academic, behavioral &amp; emotional interventions; school and community counseling; mental health; practice; graduation thesis, etc.</a:t>
            </a:r>
          </a:p>
        </p:txBody>
      </p:sp>
    </p:spTree>
    <p:extLst>
      <p:ext uri="{BB962C8B-B14F-4D97-AF65-F5344CB8AC3E}">
        <p14:creationId xmlns:p14="http://schemas.microsoft.com/office/powerpoint/2010/main" val="327325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pic>
        <p:nvPicPr>
          <p:cNvPr id="10" name="Picture 3" descr="A picture containing rain&#10;&#10;Description automatically generated">
            <a:extLst>
              <a:ext uri="{FF2B5EF4-FFF2-40B4-BE49-F238E27FC236}">
                <a16:creationId xmlns:a16="http://schemas.microsoft.com/office/drawing/2014/main" id="{DDB1443C-21F7-44CE-B11A-CB709F8ACB81}"/>
              </a:ext>
            </a:extLst>
          </p:cNvPr>
          <p:cNvPicPr>
            <a:picLocks noChangeAspect="1"/>
          </p:cNvPicPr>
          <p:nvPr/>
        </p:nvPicPr>
        <p:blipFill rotWithShape="1">
          <a:blip r:embed="rId3" cstate="print">
            <a:alphaModFix amt="35000"/>
            <a:extLst>
              <a:ext uri="{28A0092B-C50C-407E-A947-70E740481C1C}">
                <a14:useLocalDpi xmlns:a14="http://schemas.microsoft.com/office/drawing/2010/main" val="0"/>
              </a:ext>
            </a:extLst>
          </a:blip>
          <a:srcRect b="15730"/>
          <a:stretch/>
        </p:blipFill>
        <p:spPr>
          <a:xfrm>
            <a:off x="-1" y="10"/>
            <a:ext cx="12192000" cy="6857990"/>
          </a:xfrm>
          <a:prstGeom prst="rect">
            <a:avLst/>
          </a:prstGeom>
        </p:spPr>
      </p:pic>
      <p:sp>
        <p:nvSpPr>
          <p:cNvPr id="2" name="Title 1">
            <a:extLst>
              <a:ext uri="{FF2B5EF4-FFF2-40B4-BE49-F238E27FC236}">
                <a16:creationId xmlns:a16="http://schemas.microsoft.com/office/drawing/2014/main" id="{FD2D4BF7-E44B-44DA-BC19-3D6F03BDD63A}"/>
              </a:ext>
            </a:extLst>
          </p:cNvPr>
          <p:cNvSpPr>
            <a:spLocks noGrp="1"/>
          </p:cNvSpPr>
          <p:nvPr>
            <p:ph type="title"/>
          </p:nvPr>
        </p:nvSpPr>
        <p:spPr>
          <a:xfrm>
            <a:off x="-2" y="1"/>
            <a:ext cx="10515600" cy="1036320"/>
          </a:xfrm>
        </p:spPr>
        <p:txBody>
          <a:bodyPr>
            <a:normAutofit/>
          </a:bodyPr>
          <a:lstStyle/>
          <a:p>
            <a:r>
              <a:rPr lang="en-US">
                <a:solidFill>
                  <a:srgbClr val="FFFFFF"/>
                </a:solidFill>
                <a:latin typeface="Times New Roman" panose="02020603050405020304" pitchFamily="18" charset="0"/>
                <a:cs typeface="Times New Roman" panose="02020603050405020304" pitchFamily="18" charset="0"/>
              </a:rPr>
              <a:t>Benchmark curriculum</a:t>
            </a:r>
            <a:endParaRPr lang="en-US" dirty="0">
              <a:solidFill>
                <a:srgbClr val="FFFFFF"/>
              </a:solidFill>
              <a:latin typeface="Times New Roman" panose="02020603050405020304" pitchFamily="18" charset="0"/>
              <a:cs typeface="Times New Roman" panose="02020603050405020304" pitchFamily="18" charset="0"/>
            </a:endParaRPr>
          </a:p>
        </p:txBody>
      </p:sp>
      <p:graphicFrame>
        <p:nvGraphicFramePr>
          <p:cNvPr id="11" name="Table 10">
            <a:extLst>
              <a:ext uri="{FF2B5EF4-FFF2-40B4-BE49-F238E27FC236}">
                <a16:creationId xmlns:a16="http://schemas.microsoft.com/office/drawing/2014/main" id="{B4FAD155-9C6E-470D-94C6-A0D985F5E597}"/>
              </a:ext>
            </a:extLst>
          </p:cNvPr>
          <p:cNvGraphicFramePr>
            <a:graphicFrameLocks noGrp="1"/>
          </p:cNvGraphicFramePr>
          <p:nvPr>
            <p:extLst>
              <p:ext uri="{D42A27DB-BD31-4B8C-83A1-F6EECF244321}">
                <p14:modId xmlns:p14="http://schemas.microsoft.com/office/powerpoint/2010/main" val="1593941605"/>
              </p:ext>
            </p:extLst>
          </p:nvPr>
        </p:nvGraphicFramePr>
        <p:xfrm>
          <a:off x="-3" y="869430"/>
          <a:ext cx="12039598" cy="5932940"/>
        </p:xfrm>
        <a:graphic>
          <a:graphicData uri="http://schemas.openxmlformats.org/drawingml/2006/table">
            <a:tbl>
              <a:tblPr firstRow="1" firstCol="1" bandRow="1" bandCol="1">
                <a:tableStyleId>{5C22544A-7EE6-4342-B048-85BDC9FD1C3A}</a:tableStyleId>
              </a:tblPr>
              <a:tblGrid>
                <a:gridCol w="527334">
                  <a:extLst>
                    <a:ext uri="{9D8B030D-6E8A-4147-A177-3AD203B41FA5}">
                      <a16:colId xmlns:a16="http://schemas.microsoft.com/office/drawing/2014/main" val="4062854518"/>
                    </a:ext>
                  </a:extLst>
                </a:gridCol>
                <a:gridCol w="618834">
                  <a:extLst>
                    <a:ext uri="{9D8B030D-6E8A-4147-A177-3AD203B41FA5}">
                      <a16:colId xmlns:a16="http://schemas.microsoft.com/office/drawing/2014/main" val="3768933778"/>
                    </a:ext>
                  </a:extLst>
                </a:gridCol>
                <a:gridCol w="3159191">
                  <a:extLst>
                    <a:ext uri="{9D8B030D-6E8A-4147-A177-3AD203B41FA5}">
                      <a16:colId xmlns:a16="http://schemas.microsoft.com/office/drawing/2014/main" val="498231787"/>
                    </a:ext>
                  </a:extLst>
                </a:gridCol>
                <a:gridCol w="703112">
                  <a:extLst>
                    <a:ext uri="{9D8B030D-6E8A-4147-A177-3AD203B41FA5}">
                      <a16:colId xmlns:a16="http://schemas.microsoft.com/office/drawing/2014/main" val="3191660851"/>
                    </a:ext>
                  </a:extLst>
                </a:gridCol>
                <a:gridCol w="4921789">
                  <a:extLst>
                    <a:ext uri="{9D8B030D-6E8A-4147-A177-3AD203B41FA5}">
                      <a16:colId xmlns:a16="http://schemas.microsoft.com/office/drawing/2014/main" val="3819666240"/>
                    </a:ext>
                  </a:extLst>
                </a:gridCol>
                <a:gridCol w="2109338">
                  <a:extLst>
                    <a:ext uri="{9D8B030D-6E8A-4147-A177-3AD203B41FA5}">
                      <a16:colId xmlns:a16="http://schemas.microsoft.com/office/drawing/2014/main" val="480319646"/>
                    </a:ext>
                  </a:extLst>
                </a:gridCol>
              </a:tblGrid>
              <a:tr h="273944">
                <a:tc>
                  <a:txBody>
                    <a:bodyPr/>
                    <a:lstStyle/>
                    <a:p>
                      <a:pPr marL="0" marR="0" indent="-19050" algn="ctr">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tabLst>
                          <a:tab pos="228600" algn="l"/>
                          <a:tab pos="685800" algn="l"/>
                          <a:tab pos="4686300" algn="r"/>
                        </a:tabLst>
                      </a:pPr>
                      <a:r>
                        <a:rPr lang="en-US" sz="1400" dirty="0">
                          <a:effectLst/>
                          <a:latin typeface="Times New Roman" panose="02020603050405020304" pitchFamily="18" charset="0"/>
                          <a:cs typeface="Times New Roman" panose="02020603050405020304" pitchFamily="18" charset="0"/>
                        </a:rPr>
                        <a:t>ID</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Course name</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credit</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ISPA </a:t>
                      </a:r>
                      <a:r>
                        <a:rPr lang="en-US" sz="1400" dirty="0" err="1">
                          <a:effectLst/>
                          <a:latin typeface="Times New Roman" panose="02020603050405020304" pitchFamily="18" charset="0"/>
                          <a:cs typeface="Times New Roman" panose="02020603050405020304" pitchFamily="18" charset="0"/>
                        </a:rPr>
                        <a:t>Standars</a:t>
                      </a: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CACREP </a:t>
                      </a:r>
                      <a:r>
                        <a:rPr lang="en-US" sz="1400" dirty="0" err="1">
                          <a:effectLst/>
                          <a:latin typeface="Times New Roman" panose="02020603050405020304" pitchFamily="18" charset="0"/>
                          <a:cs typeface="Times New Roman" panose="02020603050405020304" pitchFamily="18" charset="0"/>
                        </a:rPr>
                        <a:t>Standars</a:t>
                      </a: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4224719455"/>
                  </a:ext>
                </a:extLst>
              </a:tr>
              <a:tr h="0">
                <a:tc>
                  <a:txBody>
                    <a:bodyPr/>
                    <a:lstStyle/>
                    <a:p>
                      <a:pPr marL="342900" marR="0" lvl="0" indent="-342900">
                        <a:lnSpc>
                          <a:spcPct val="130000"/>
                        </a:lnSpc>
                        <a:spcBef>
                          <a:spcPts val="0"/>
                        </a:spcBef>
                        <a:spcAft>
                          <a:spcPts val="0"/>
                        </a:spcAft>
                        <a:buFont typeface="+mj-lt"/>
                        <a:buAutoNum type="arabicPeriod"/>
                      </a:pP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MSC 600</a:t>
                      </a:r>
                      <a:r>
                        <a:rPr lang="vi-VN" sz="1400" dirty="0">
                          <a:effectLst/>
                          <a:latin typeface="Times New Roman" panose="02020603050405020304" pitchFamily="18" charset="0"/>
                          <a:cs typeface="Times New Roman" panose="02020603050405020304" pitchFamily="18" charset="0"/>
                        </a:rPr>
                        <a:t>1</a:t>
                      </a: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Introduction to School Counseling &amp; </a:t>
                      </a:r>
                      <a:r>
                        <a:rPr lang="vi-VN" sz="1400" dirty="0">
                          <a:effectLst/>
                          <a:latin typeface="Times New Roman" panose="02020603050405020304" pitchFamily="18" charset="0"/>
                          <a:cs typeface="Times New Roman" panose="02020603050405020304" pitchFamily="18" charset="0"/>
                        </a:rPr>
                        <a:t>Theories of </a:t>
                      </a:r>
                      <a:r>
                        <a:rPr lang="en-US" sz="1400" dirty="0">
                          <a:effectLst/>
                          <a:latin typeface="Times New Roman" panose="02020603050405020304" pitchFamily="18" charset="0"/>
                          <a:cs typeface="Times New Roman" panose="02020603050405020304" pitchFamily="18" charset="0"/>
                        </a:rPr>
                        <a:t>Counseling</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41275" marR="0" algn="ctr">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3</a:t>
                      </a:r>
                    </a:p>
                    <a:p>
                      <a:pPr marL="41275" marR="0" algn="ctr">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vi-VN" sz="1400" dirty="0">
                          <a:effectLst/>
                          <a:latin typeface="Times New Roman" panose="02020603050405020304" pitchFamily="18" charset="0"/>
                          <a:cs typeface="Times New Roman" panose="02020603050405020304" pitchFamily="18" charset="0"/>
                        </a:rPr>
                        <a:t>1.2 Social and Emotional Development</a:t>
                      </a:r>
                      <a:endParaRPr lang="en-US" sz="1400" dirty="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2.2  Prevention, Mental Health Promotion and Crisis Intervention</a:t>
                      </a:r>
                    </a:p>
                    <a:p>
                      <a:pPr marL="110490" marR="0" indent="-11049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5.2 Interviewing</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41275" marR="0">
                        <a:lnSpc>
                          <a:spcPct val="130000"/>
                        </a:lnSpc>
                        <a:spcBef>
                          <a:spcPts val="0"/>
                        </a:spcBef>
                        <a:spcAft>
                          <a:spcPts val="0"/>
                        </a:spcAft>
                      </a:pPr>
                      <a:r>
                        <a:rPr lang="vi-VN" sz="1400" dirty="0">
                          <a:effectLst/>
                          <a:latin typeface="Times New Roman" panose="02020603050405020304" pitchFamily="18" charset="0"/>
                          <a:cs typeface="Times New Roman" panose="02020603050405020304" pitchFamily="18" charset="0"/>
                        </a:rPr>
                        <a:t>C</a:t>
                      </a:r>
                      <a:r>
                        <a:rPr lang="en-US" sz="1400" dirty="0" err="1">
                          <a:effectLst/>
                          <a:latin typeface="Times New Roman" panose="02020603050405020304" pitchFamily="18" charset="0"/>
                          <a:cs typeface="Times New Roman" panose="02020603050405020304" pitchFamily="18" charset="0"/>
                        </a:rPr>
                        <a:t>ounseling</a:t>
                      </a:r>
                      <a:r>
                        <a:rPr lang="en-US" sz="1400" dirty="0">
                          <a:effectLst/>
                          <a:latin typeface="Times New Roman" panose="02020603050405020304" pitchFamily="18" charset="0"/>
                          <a:cs typeface="Times New Roman" panose="02020603050405020304" pitchFamily="18" charset="0"/>
                        </a:rPr>
                        <a:t> and Helping Relationships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3416528131"/>
                  </a:ext>
                </a:extLst>
              </a:tr>
              <a:tr h="206433">
                <a:tc>
                  <a:txBody>
                    <a:bodyPr/>
                    <a:lstStyle/>
                    <a:p>
                      <a:pPr marL="342900" marR="0" lvl="0" indent="-342900">
                        <a:lnSpc>
                          <a:spcPct val="130000"/>
                        </a:lnSpc>
                        <a:spcBef>
                          <a:spcPts val="0"/>
                        </a:spcBef>
                        <a:spcAft>
                          <a:spcPts val="0"/>
                        </a:spcAft>
                        <a:buFont typeface="+mj-lt"/>
                        <a:buAutoNum type="arabicPeriod"/>
                      </a:pP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MSC 600</a:t>
                      </a:r>
                      <a:r>
                        <a:rPr lang="vi-VN" sz="1400">
                          <a:effectLst/>
                          <a:latin typeface="Times New Roman" panose="02020603050405020304" pitchFamily="18" charset="0"/>
                          <a:cs typeface="Times New Roman" panose="02020603050405020304" pitchFamily="18" charset="0"/>
                        </a:rPr>
                        <a:t>2</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Human development &amp; diversity in education</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41275" marR="0" algn="ctr">
                        <a:lnSpc>
                          <a:spcPct val="130000"/>
                        </a:lnSpc>
                        <a:spcBef>
                          <a:spcPts val="0"/>
                        </a:spcBef>
                        <a:spcAft>
                          <a:spcPts val="0"/>
                        </a:spcAft>
                      </a:pPr>
                      <a:r>
                        <a:rPr lang="vi-VN" sz="1400">
                          <a:effectLst/>
                          <a:latin typeface="Times New Roman" panose="02020603050405020304" pitchFamily="18" charset="0"/>
                          <a:cs typeface="Times New Roman" panose="02020603050405020304" pitchFamily="18" charset="0"/>
                        </a:rPr>
                        <a:t>3</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41275" marR="0">
                        <a:lnSpc>
                          <a:spcPct val="130000"/>
                        </a:lnSpc>
                        <a:spcBef>
                          <a:spcPts val="0"/>
                        </a:spcBef>
                        <a:spcAft>
                          <a:spcPts val="0"/>
                        </a:spcAft>
                      </a:pPr>
                      <a:r>
                        <a:rPr lang="vi-VN" sz="1400" dirty="0">
                          <a:effectLst/>
                          <a:latin typeface="Times New Roman" panose="02020603050405020304" pitchFamily="18" charset="0"/>
                          <a:cs typeface="Times New Roman" panose="02020603050405020304" pitchFamily="18" charset="0"/>
                        </a:rPr>
                        <a:t>3.2 Working with children and families from culturally diverse communities</a:t>
                      </a:r>
                      <a:endParaRPr lang="en-US" sz="1400" dirty="0">
                        <a:effectLst/>
                        <a:latin typeface="Times New Roman" panose="02020603050405020304" pitchFamily="18" charset="0"/>
                        <a:cs typeface="Times New Roman" panose="02020603050405020304" pitchFamily="18" charset="0"/>
                      </a:endParaRPr>
                    </a:p>
                  </a:txBody>
                  <a:tcPr marL="53604" marR="53604" marT="0" marB="0"/>
                </a:tc>
                <a:tc>
                  <a:txBody>
                    <a:bodyPr/>
                    <a:lstStyle/>
                    <a:p>
                      <a:pPr marL="41275" marR="0">
                        <a:lnSpc>
                          <a:spcPct val="130000"/>
                        </a:lnSpc>
                        <a:spcBef>
                          <a:spcPts val="0"/>
                        </a:spcBef>
                        <a:spcAft>
                          <a:spcPts val="0"/>
                        </a:spcAft>
                      </a:pPr>
                      <a:r>
                        <a:rPr lang="vi-VN" sz="1400" dirty="0">
                          <a:effectLst/>
                          <a:latin typeface="Times New Roman" panose="02020603050405020304" pitchFamily="18" charset="0"/>
                          <a:cs typeface="Times New Roman" panose="02020603050405020304" pitchFamily="18" charset="0"/>
                        </a:rPr>
                        <a:t>S</a:t>
                      </a:r>
                      <a:r>
                        <a:rPr lang="en-US" sz="1400" dirty="0" err="1">
                          <a:effectLst/>
                          <a:latin typeface="Times New Roman" panose="02020603050405020304" pitchFamily="18" charset="0"/>
                          <a:cs typeface="Times New Roman" panose="02020603050405020304" pitchFamily="18" charset="0"/>
                        </a:rPr>
                        <a:t>ocial</a:t>
                      </a:r>
                      <a:r>
                        <a:rPr lang="en-US" sz="1400" dirty="0">
                          <a:effectLst/>
                          <a:latin typeface="Times New Roman" panose="02020603050405020304" pitchFamily="18" charset="0"/>
                          <a:cs typeface="Times New Roman" panose="02020603050405020304" pitchFamily="18" charset="0"/>
                        </a:rPr>
                        <a:t> and Cultural Diversity </a:t>
                      </a: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Human Development</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4128156827"/>
                  </a:ext>
                </a:extLst>
              </a:tr>
              <a:tr h="768983">
                <a:tc>
                  <a:txBody>
                    <a:bodyPr/>
                    <a:lstStyle/>
                    <a:p>
                      <a:pPr marL="342900" marR="0" lvl="0" indent="-342900">
                        <a:lnSpc>
                          <a:spcPct val="130000"/>
                        </a:lnSpc>
                        <a:spcBef>
                          <a:spcPts val="0"/>
                        </a:spcBef>
                        <a:spcAft>
                          <a:spcPts val="0"/>
                        </a:spcAft>
                        <a:buFont typeface="+mj-lt"/>
                        <a:buAutoNum type="arabicPeriod"/>
                      </a:pP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MSC 6003</a:t>
                      </a:r>
                    </a:p>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Identification &amp; assessment of students’ difficulties</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41275" marR="0" algn="ctr">
                        <a:lnSpc>
                          <a:spcPct val="130000"/>
                        </a:lnSpc>
                        <a:spcBef>
                          <a:spcPts val="0"/>
                        </a:spcBef>
                        <a:spcAft>
                          <a:spcPts val="0"/>
                        </a:spcAft>
                      </a:pPr>
                      <a:r>
                        <a:rPr lang="vi-VN" sz="1400" dirty="0">
                          <a:effectLst/>
                          <a:latin typeface="Times New Roman" panose="02020603050405020304" pitchFamily="18" charset="0"/>
                          <a:cs typeface="Times New Roman" panose="02020603050405020304" pitchFamily="18" charset="0"/>
                        </a:rPr>
                        <a:t>3</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vi-VN" sz="1400" dirty="0">
                          <a:effectLst/>
                          <a:latin typeface="Times New Roman" panose="02020603050405020304" pitchFamily="18" charset="0"/>
                          <a:cs typeface="Times New Roman" panose="02020603050405020304" pitchFamily="18" charset="0"/>
                        </a:rPr>
                        <a:t>1.2</a:t>
                      </a:r>
                      <a:r>
                        <a:rPr lang="en-US" sz="1400" dirty="0">
                          <a:effectLst/>
                          <a:latin typeface="Times New Roman" panose="02020603050405020304" pitchFamily="18" charset="0"/>
                          <a:cs typeface="Times New Roman" panose="02020603050405020304" pitchFamily="18" charset="0"/>
                        </a:rPr>
                        <a:t>  </a:t>
                      </a:r>
                      <a:r>
                        <a:rPr lang="vi-VN" sz="1400" dirty="0">
                          <a:effectLst/>
                          <a:latin typeface="Times New Roman" panose="02020603050405020304" pitchFamily="18" charset="0"/>
                          <a:cs typeface="Times New Roman" panose="02020603050405020304" pitchFamily="18" charset="0"/>
                        </a:rPr>
                        <a:t>Social and Emotional Development</a:t>
                      </a:r>
                      <a:endParaRPr lang="en-US" sz="1400" dirty="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2.1 Evidence-Based Decision Making and Accountability</a:t>
                      </a: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5.2 Interviewing</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41275"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Assessment and Testing</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3302022042"/>
                  </a:ext>
                </a:extLst>
              </a:tr>
              <a:tr h="505201">
                <a:tc>
                  <a:txBody>
                    <a:bodyPr/>
                    <a:lstStyle/>
                    <a:p>
                      <a:pPr marL="342900" marR="0" lvl="0" indent="-342900">
                        <a:lnSpc>
                          <a:spcPct val="130000"/>
                        </a:lnSpc>
                        <a:spcBef>
                          <a:spcPts val="0"/>
                        </a:spcBef>
                        <a:spcAft>
                          <a:spcPts val="0"/>
                        </a:spcAft>
                        <a:buFont typeface="+mj-lt"/>
                        <a:buAutoNum type="arabicPeriod"/>
                      </a:pP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MSC 6004</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Vocational guidance, counseling, &amp; developmen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vi-VN" sz="1400">
                          <a:effectLst/>
                          <a:latin typeface="Times New Roman" panose="02020603050405020304" pitchFamily="18" charset="0"/>
                          <a:cs typeface="Times New Roman" panose="02020603050405020304" pitchFamily="18" charset="0"/>
                        </a:rPr>
                        <a:t>3</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vi-VN" sz="1400" dirty="0">
                          <a:effectLst/>
                          <a:latin typeface="Times New Roman" panose="02020603050405020304" pitchFamily="18" charset="0"/>
                          <a:cs typeface="Times New Roman" panose="02020603050405020304" pitchFamily="18" charset="0"/>
                        </a:rPr>
                        <a:t>1.3 Individual Differences</a:t>
                      </a:r>
                      <a:endParaRPr lang="en-US" sz="1400" dirty="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5.2 Interviewing</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Career Developmen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1140902382"/>
                  </a:ext>
                </a:extLst>
              </a:tr>
              <a:tr h="124843">
                <a:tc>
                  <a:txBody>
                    <a:bodyPr/>
                    <a:lstStyle/>
                    <a:p>
                      <a:pPr marL="342900" marR="0" lvl="0" indent="-342900">
                        <a:lnSpc>
                          <a:spcPct val="130000"/>
                        </a:lnSpc>
                        <a:spcBef>
                          <a:spcPts val="0"/>
                        </a:spcBef>
                        <a:spcAft>
                          <a:spcPts val="0"/>
                        </a:spcAft>
                        <a:buFont typeface="+mj-lt"/>
                        <a:buAutoNum type="arabicPeriod"/>
                      </a:pP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MSC 60</a:t>
                      </a:r>
                      <a:r>
                        <a:rPr lang="vi-VN" sz="1400">
                          <a:effectLst/>
                          <a:latin typeface="Times New Roman" panose="02020603050405020304" pitchFamily="18" charset="0"/>
                          <a:cs typeface="Times New Roman" panose="02020603050405020304" pitchFamily="18" charset="0"/>
                        </a:rPr>
                        <a:t>0</a:t>
                      </a:r>
                      <a:r>
                        <a:rPr lang="en-US" sz="1400">
                          <a:effectLst/>
                          <a:latin typeface="Times New Roman" panose="02020603050405020304" pitchFamily="18" charset="0"/>
                          <a:cs typeface="Times New Roman" panose="02020603050405020304" pitchFamily="18" charset="0"/>
                        </a:rPr>
                        <a:t>5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vi-VN" sz="1400" dirty="0">
                          <a:effectLst/>
                          <a:latin typeface="Times New Roman" panose="02020603050405020304" pitchFamily="18" charset="0"/>
                          <a:cs typeface="Times New Roman" panose="02020603050405020304" pitchFamily="18" charset="0"/>
                        </a:rPr>
                        <a:t>Professional</a:t>
                      </a:r>
                      <a:r>
                        <a:rPr lang="en-US" sz="1400" dirty="0">
                          <a:effectLst/>
                          <a:latin typeface="Times New Roman" panose="02020603050405020304" pitchFamily="18" charset="0"/>
                          <a:cs typeface="Times New Roman" panose="02020603050405020304" pitchFamily="18" charset="0"/>
                        </a:rPr>
                        <a:t>,</a:t>
                      </a:r>
                      <a:r>
                        <a:rPr lang="vi-VN" sz="1400" dirty="0">
                          <a:effectLst/>
                          <a:latin typeface="Times New Roman" panose="02020603050405020304" pitchFamily="18" charset="0"/>
                          <a:cs typeface="Times New Roman" panose="02020603050405020304" pitchFamily="18" charset="0"/>
                        </a:rPr>
                        <a:t> Ethic</a:t>
                      </a:r>
                      <a:r>
                        <a:rPr lang="en-US" sz="1400" dirty="0">
                          <a:effectLst/>
                          <a:latin typeface="Times New Roman" panose="02020603050405020304" pitchFamily="18" charset="0"/>
                          <a:cs typeface="Times New Roman" panose="02020603050405020304" pitchFamily="18" charset="0"/>
                        </a:rPr>
                        <a:t>, &amp;</a:t>
                      </a:r>
                      <a:r>
                        <a:rPr lang="vi-VN" sz="1400" dirty="0">
                          <a:effectLst/>
                          <a:latin typeface="Times New Roman" panose="02020603050405020304" pitchFamily="18" charset="0"/>
                          <a:cs typeface="Times New Roman" panose="02020603050405020304" pitchFamily="18" charset="0"/>
                        </a:rPr>
                        <a:t> Legal</a:t>
                      </a:r>
                      <a:r>
                        <a:rPr lang="en-US" sz="1400" dirty="0">
                          <a:effectLst/>
                          <a:latin typeface="Times New Roman" panose="02020603050405020304" pitchFamily="18" charset="0"/>
                          <a:cs typeface="Times New Roman" panose="02020603050405020304" pitchFamily="18" charset="0"/>
                        </a:rPr>
                        <a:t> Standards</a:t>
                      </a:r>
                      <a:r>
                        <a:rPr lang="vi-VN" sz="1400" dirty="0">
                          <a:effectLst/>
                          <a:latin typeface="Times New Roman" panose="02020603050405020304" pitchFamily="18" charset="0"/>
                          <a:cs typeface="Times New Roman" panose="02020603050405020304" pitchFamily="18" charset="0"/>
                        </a:rPr>
                        <a:t> in </a:t>
                      </a:r>
                      <a:r>
                        <a:rPr lang="en-US" sz="1400" dirty="0">
                          <a:effectLst/>
                          <a:latin typeface="Times New Roman" panose="02020603050405020304" pitchFamily="18" charset="0"/>
                          <a:cs typeface="Times New Roman" panose="02020603050405020304" pitchFamily="18" charset="0"/>
                        </a:rPr>
                        <a:t>student services.</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gn="ctr">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3</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3.1 Role and functions of school psychologists nationally and internationally </a:t>
                      </a: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2.3 School and Systems Organization, Policy Development and Implementation</a:t>
                      </a: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4.1 Legislation that impacts on education policy and practice </a:t>
                      </a: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4.2 Ethical issues in professional practice</a:t>
                      </a: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5.2 Interviewing</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Professional Counseling Orientation and Ethical Practice</a:t>
                      </a: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 </a:t>
                      </a: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3539157091"/>
                  </a:ext>
                </a:extLst>
              </a:tr>
              <a:tr h="768983">
                <a:tc>
                  <a:txBody>
                    <a:bodyPr/>
                    <a:lstStyle/>
                    <a:p>
                      <a:pPr marL="342900" marR="0" lvl="0" indent="-342900">
                        <a:lnSpc>
                          <a:spcPct val="130000"/>
                        </a:lnSpc>
                        <a:spcBef>
                          <a:spcPts val="0"/>
                        </a:spcBef>
                        <a:spcAft>
                          <a:spcPts val="0"/>
                        </a:spcAft>
                        <a:buFont typeface="+mj-lt"/>
                        <a:buAutoNum type="arabicPeriod"/>
                      </a:pPr>
                      <a:r>
                        <a:rPr lang="en-US" sz="1400" dirty="0">
                          <a:effectLst/>
                          <a:latin typeface="Times New Roman" panose="02020603050405020304" pitchFamily="18" charset="0"/>
                          <a:cs typeface="Times New Roman" panose="02020603050405020304" pitchFamily="18" charset="0"/>
                        </a:rPr>
                        <a:t> </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MSC 6006</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nchor="ctr"/>
                </a:tc>
                <a:tc>
                  <a:txBody>
                    <a:bodyPr/>
                    <a:lstStyle/>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Theories  of cognition, learning, &amp;  motivation</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41275" marR="0" algn="ctr">
                        <a:lnSpc>
                          <a:spcPct val="130000"/>
                        </a:lnSpc>
                        <a:spcBef>
                          <a:spcPts val="0"/>
                        </a:spcBef>
                        <a:spcAft>
                          <a:spcPts val="0"/>
                        </a:spcAft>
                      </a:pPr>
                      <a:r>
                        <a:rPr lang="vi-VN" sz="1400">
                          <a:effectLst/>
                          <a:latin typeface="Times New Roman" panose="02020603050405020304" pitchFamily="18" charset="0"/>
                          <a:cs typeface="Times New Roman" panose="02020603050405020304" pitchFamily="18" charset="0"/>
                        </a:rPr>
                        <a:t> </a:t>
                      </a:r>
                      <a:endParaRPr lang="en-US" sz="1400">
                        <a:effectLst/>
                        <a:latin typeface="Times New Roman" panose="02020603050405020304" pitchFamily="18" charset="0"/>
                        <a:cs typeface="Times New Roman" panose="02020603050405020304" pitchFamily="18" charset="0"/>
                      </a:endParaRPr>
                    </a:p>
                    <a:p>
                      <a:pPr marL="41275" marR="0" algn="ctr">
                        <a:lnSpc>
                          <a:spcPct val="130000"/>
                        </a:lnSpc>
                        <a:spcBef>
                          <a:spcPts val="0"/>
                        </a:spcBef>
                        <a:spcAft>
                          <a:spcPts val="0"/>
                        </a:spcAft>
                      </a:pPr>
                      <a:r>
                        <a:rPr lang="vi-VN" sz="1400">
                          <a:effectLst/>
                          <a:latin typeface="Times New Roman" panose="02020603050405020304" pitchFamily="18" charset="0"/>
                          <a:cs typeface="Times New Roman" panose="02020603050405020304" pitchFamily="18" charset="0"/>
                        </a:rPr>
                        <a:t>3</a:t>
                      </a:r>
                      <a:r>
                        <a:rPr lang="en-US" sz="1400">
                          <a:effectLst/>
                          <a:latin typeface="Times New Roman" panose="02020603050405020304" pitchFamily="18" charset="0"/>
                          <a:cs typeface="Times New Roman" panose="02020603050405020304" pitchFamily="18" charset="0"/>
                        </a:rPr>
                        <a: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nSpc>
                          <a:spcPct val="130000"/>
                        </a:lnSpc>
                        <a:spcBef>
                          <a:spcPts val="0"/>
                        </a:spcBef>
                        <a:spcAft>
                          <a:spcPts val="0"/>
                        </a:spcAft>
                      </a:pPr>
                      <a:r>
                        <a:rPr lang="vi-VN" sz="1400">
                          <a:effectLst/>
                          <a:latin typeface="Times New Roman" panose="02020603050405020304" pitchFamily="18" charset="0"/>
                          <a:cs typeface="Times New Roman" panose="02020603050405020304" pitchFamily="18" charset="0"/>
                        </a:rPr>
                        <a:t>1.1 Cognition and Learning</a:t>
                      </a:r>
                      <a:endParaRPr lang="en-US" sz="140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1.3 Individual Differences</a:t>
                      </a:r>
                    </a:p>
                    <a:p>
                      <a:pPr marL="0" marR="0">
                        <a:lnSpc>
                          <a:spcPct val="130000"/>
                        </a:lnSpc>
                        <a:spcBef>
                          <a:spcPts val="0"/>
                        </a:spcBef>
                        <a:spcAft>
                          <a:spcPts val="0"/>
                        </a:spcAft>
                      </a:pPr>
                      <a:r>
                        <a:rPr lang="en-US" sz="1400">
                          <a:effectLst/>
                          <a:latin typeface="Times New Roman" panose="02020603050405020304" pitchFamily="18" charset="0"/>
                          <a:cs typeface="Times New Roman" panose="02020603050405020304" pitchFamily="18" charset="0"/>
                        </a:rPr>
                        <a:t>2.1 Evidence-Based Decision Making and Accountability</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tc>
                  <a:txBody>
                    <a:bodyPr/>
                    <a:lstStyle/>
                    <a:p>
                      <a:pPr marL="0" marR="0">
                        <a:lnSpc>
                          <a:spcPct val="130000"/>
                        </a:lnSpc>
                        <a:spcBef>
                          <a:spcPts val="0"/>
                        </a:spcBef>
                        <a:spcAft>
                          <a:spcPts val="0"/>
                        </a:spcAft>
                      </a:pPr>
                      <a:r>
                        <a:rPr lang="vi-VN" sz="1400" dirty="0">
                          <a:effectLst/>
                          <a:latin typeface="Times New Roman" panose="02020603050405020304" pitchFamily="18" charset="0"/>
                          <a:cs typeface="Times New Roman" panose="02020603050405020304" pitchFamily="18" charset="0"/>
                        </a:rPr>
                        <a:t>Assessment and Testing</a:t>
                      </a:r>
                      <a:endParaRPr lang="en-US" sz="1400" dirty="0">
                        <a:effectLst/>
                        <a:latin typeface="Times New Roman" panose="02020603050405020304" pitchFamily="18" charset="0"/>
                        <a:cs typeface="Times New Roman" panose="02020603050405020304" pitchFamily="18" charset="0"/>
                      </a:endParaRPr>
                    </a:p>
                    <a:p>
                      <a:pPr marL="0" marR="0">
                        <a:lnSpc>
                          <a:spcPct val="130000"/>
                        </a:lnSpc>
                        <a:spcBef>
                          <a:spcPts val="0"/>
                        </a:spcBef>
                        <a:spcAft>
                          <a:spcPts val="0"/>
                        </a:spcAft>
                      </a:pPr>
                      <a:r>
                        <a:rPr lang="en-US" sz="1400" dirty="0">
                          <a:effectLst/>
                          <a:latin typeface="Times New Roman" panose="02020603050405020304" pitchFamily="18" charset="0"/>
                          <a:cs typeface="Times New Roman" panose="02020603050405020304" pitchFamily="18" charset="0"/>
                        </a:rPr>
                        <a:t>Career Development</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3604" marR="53604" marT="0" marB="0"/>
                </a:tc>
                <a:extLst>
                  <a:ext uri="{0D108BD9-81ED-4DB2-BD59-A6C34878D82A}">
                    <a16:rowId xmlns:a16="http://schemas.microsoft.com/office/drawing/2014/main" val="1495747515"/>
                  </a:ext>
                </a:extLst>
              </a:tr>
            </a:tbl>
          </a:graphicData>
        </a:graphic>
      </p:graphicFrame>
    </p:spTree>
    <p:extLst>
      <p:ext uri="{BB962C8B-B14F-4D97-AF65-F5344CB8AC3E}">
        <p14:creationId xmlns:p14="http://schemas.microsoft.com/office/powerpoint/2010/main" val="3185046467"/>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9</TotalTime>
  <Words>1869</Words>
  <Application>Microsoft Office PowerPoint</Application>
  <PresentationFormat>Widescreen</PresentationFormat>
  <Paragraphs>341</Paragraphs>
  <Slides>26</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26</vt:i4>
      </vt:variant>
    </vt:vector>
  </HeadingPairs>
  <TitlesOfParts>
    <vt:vector size="35" baseType="lpstr">
      <vt:lpstr>Arial</vt:lpstr>
      <vt:lpstr>Calibri</vt:lpstr>
      <vt:lpstr>Calibri Light</vt:lpstr>
      <vt:lpstr>Cambria</vt:lpstr>
      <vt:lpstr>Fira Sans</vt:lpstr>
      <vt:lpstr>Times New Roman</vt:lpstr>
      <vt:lpstr>Office Theme</vt:lpstr>
      <vt:lpstr>Document</vt:lpstr>
      <vt:lpstr>think-cell Slide</vt:lpstr>
      <vt:lpstr>PowerPoint Presentation</vt:lpstr>
      <vt:lpstr>PowerPoint Presentation</vt:lpstr>
      <vt:lpstr>The Need for a School counseling Training Program in Vietnam</vt:lpstr>
      <vt:lpstr>PowerPoint Presentation</vt:lpstr>
      <vt:lpstr>VNU-UE develop the training program model</vt:lpstr>
      <vt:lpstr>Benchmark Outcome of training models</vt:lpstr>
      <vt:lpstr>Benchmark foundational and functional competencies</vt:lpstr>
      <vt:lpstr>Benchmark curriculum</vt:lpstr>
      <vt:lpstr>Benchmark curriculum</vt:lpstr>
      <vt:lpstr>Benchmark curriculum</vt:lpstr>
      <vt:lpstr>Benchmark curriculum</vt:lpstr>
      <vt:lpstr>Benchmark curriculum</vt:lpstr>
      <vt:lpstr>Course comparison</vt:lpstr>
      <vt:lpstr>PowerPoint Presentation</vt:lpstr>
      <vt:lpstr>PowerPoint Presentation</vt:lpstr>
      <vt:lpstr>PowerPoint Presentation</vt:lpstr>
      <vt:lpstr>PowerPoint Presentation</vt:lpstr>
      <vt:lpstr>Benchmark teaching contents and methods</vt:lpstr>
      <vt:lpstr>PowerPoint Presentation</vt:lpstr>
      <vt:lpstr>PowerPoint Presentation</vt:lpstr>
      <vt:lpstr>Teacher certificated training program</vt:lpstr>
      <vt:lpstr>240 credit hours 8 modules</vt:lpstr>
      <vt:lpstr>Teacher/Counselor support tool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m Tran</dc:creator>
  <cp:lastModifiedBy>Nam Tran</cp:lastModifiedBy>
  <cp:revision>1</cp:revision>
  <dcterms:created xsi:type="dcterms:W3CDTF">2019-06-04T13:54:50Z</dcterms:created>
  <dcterms:modified xsi:type="dcterms:W3CDTF">2019-06-04T17:11:59Z</dcterms:modified>
</cp:coreProperties>
</file>